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drawings/drawing1.xml" ContentType="application/vnd.openxmlformats-officedocument.drawingml.chartshape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drawings/drawing2.xml" ContentType="application/vnd.openxmlformats-officedocument.drawingml.chartshapes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drawings/drawing3.xml" ContentType="application/vnd.openxmlformats-officedocument.drawingml.chartshapes+xml"/>
  <Override PartName="/ppt/charts/chart14.xml" ContentType="application/vnd.openxmlformats-officedocument.drawingml.chart+xml"/>
  <Override PartName="/ppt/drawings/drawing4.xml" ContentType="application/vnd.openxmlformats-officedocument.drawingml.chartshapes+xml"/>
  <Override PartName="/ppt/charts/chart15.xml" ContentType="application/vnd.openxmlformats-officedocument.drawingml.chart+xml"/>
  <Override PartName="/ppt/drawings/drawing5.xml" ContentType="application/vnd.openxmlformats-officedocument.drawingml.chartshapes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drawings/drawing6.xml" ContentType="application/vnd.openxmlformats-officedocument.drawingml.chartshapes+xml"/>
  <Override PartName="/ppt/charts/chart22.xml" ContentType="application/vnd.openxmlformats-officedocument.drawingml.chart+xml"/>
  <Override PartName="/ppt/drawings/drawing7.xml" ContentType="application/vnd.openxmlformats-officedocument.drawingml.chartshapes+xml"/>
  <Override PartName="/ppt/charts/chart23.xml" ContentType="application/vnd.openxmlformats-officedocument.drawingml.chart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24.xml" ContentType="application/vnd.openxmlformats-officedocument.drawingml.chart+xml"/>
  <Override PartName="/ppt/drawings/drawing8.xml" ContentType="application/vnd.openxmlformats-officedocument.drawingml.chartshapes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drawings/drawing9.xml" ContentType="application/vnd.openxmlformats-officedocument.drawingml.chartshape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drawings/drawing10.xml" ContentType="application/vnd.openxmlformats-officedocument.drawingml.chartshapes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4" r:id="rId1"/>
    <p:sldMasterId id="2147483862" r:id="rId2"/>
    <p:sldMasterId id="2147483874" r:id="rId3"/>
  </p:sldMasterIdLst>
  <p:notesMasterIdLst>
    <p:notesMasterId r:id="rId33"/>
  </p:notesMasterIdLst>
  <p:handoutMasterIdLst>
    <p:handoutMasterId r:id="rId34"/>
  </p:handoutMasterIdLst>
  <p:sldIdLst>
    <p:sldId id="347" r:id="rId4"/>
    <p:sldId id="508" r:id="rId5"/>
    <p:sldId id="495" r:id="rId6"/>
    <p:sldId id="507" r:id="rId7"/>
    <p:sldId id="499" r:id="rId8"/>
    <p:sldId id="500" r:id="rId9"/>
    <p:sldId id="501" r:id="rId10"/>
    <p:sldId id="502" r:id="rId11"/>
    <p:sldId id="503" r:id="rId12"/>
    <p:sldId id="484" r:id="rId13"/>
    <p:sldId id="468" r:id="rId14"/>
    <p:sldId id="510" r:id="rId15"/>
    <p:sldId id="511" r:id="rId16"/>
    <p:sldId id="490" r:id="rId17"/>
    <p:sldId id="487" r:id="rId18"/>
    <p:sldId id="472" r:id="rId19"/>
    <p:sldId id="471" r:id="rId20"/>
    <p:sldId id="491" r:id="rId21"/>
    <p:sldId id="509" r:id="rId22"/>
    <p:sldId id="494" r:id="rId23"/>
    <p:sldId id="488" r:id="rId24"/>
    <p:sldId id="443" r:id="rId25"/>
    <p:sldId id="496" r:id="rId26"/>
    <p:sldId id="485" r:id="rId27"/>
    <p:sldId id="497" r:id="rId28"/>
    <p:sldId id="486" r:id="rId29"/>
    <p:sldId id="505" r:id="rId30"/>
    <p:sldId id="506" r:id="rId31"/>
    <p:sldId id="374" r:id="rId32"/>
  </p:sldIdLst>
  <p:sldSz cx="9144000" cy="6858000" type="screen4x3"/>
  <p:notesSz cx="6797675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FFC000"/>
    <a:srgbClr val="996633"/>
    <a:srgbClr val="CC9900"/>
    <a:srgbClr val="FF9900"/>
    <a:srgbClr val="CC6600"/>
    <a:srgbClr val="FFCC66"/>
    <a:srgbClr val="FFCC00"/>
    <a:srgbClr val="2F28BA"/>
    <a:srgbClr val="4F35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73" autoAdjust="0"/>
    <p:restoredTop sz="91886" autoAdjust="0"/>
  </p:normalViewPr>
  <p:slideViewPr>
    <p:cSldViewPr snapToGrid="0">
      <p:cViewPr>
        <p:scale>
          <a:sx n="110" d="100"/>
          <a:sy n="110" d="100"/>
        </p:scale>
        <p:origin x="-1812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C:\Users\superuser\Desktop\&#1076;&#1083;&#1103;%20&#1089;&#1083;&#1072;&#1081;&#1076;&#1086;&#1074;.xlsx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18.xlsx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19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20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3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Microsoft_Excel_Worksheet26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3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Microsoft_Excel_Worksheet28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oleObject" Target="&#1044;&#1080;&#1072;&#1075;&#1088;&#1072;&#1084;&#1084;&#1072;%20&#1074;%20Microsoft%20Office%20PowerPoint" TargetMode="External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oleObject" Target="&#1044;&#1080;&#1072;&#1075;&#1088;&#1072;&#1084;&#1084;&#1072;%20&#1074;%20Microsoft%20Office%20PowerPoint" TargetMode="External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180542225394201E-2"/>
          <c:y val="0"/>
          <c:w val="0.95752561206402298"/>
          <c:h val="0.58159479864556107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</c:v>
                </c:pt>
              </c:strCache>
            </c:strRef>
          </c:tx>
          <c:spPr>
            <a:ln w="76200">
              <a:solidFill>
                <a:srgbClr val="F59265"/>
              </a:solidFill>
            </a:ln>
          </c:spPr>
          <c:marker>
            <c:symbol val="circle"/>
            <c:size val="23"/>
            <c:spPr>
              <a:solidFill>
                <a:srgbClr val="F59265"/>
              </a:solidFill>
              <a:ln>
                <a:solidFill>
                  <a:srgbClr val="F59265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/>
                      <a:t> 3 </a:t>
                    </a:r>
                    <a:r>
                      <a:rPr lang="en-US" smtClean="0"/>
                      <a:t>681   </a:t>
                    </a:r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 3 </a:t>
                    </a:r>
                    <a:r>
                      <a:rPr lang="en-US" smtClean="0"/>
                      <a:t>715   </a:t>
                    </a:r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351256687090968E-2"/>
                  <c:y val="2.4950963743253601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 3 </a:t>
                    </a:r>
                    <a:r>
                      <a:rPr lang="en-US" smtClean="0"/>
                      <a:t>827   </a:t>
                    </a:r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7.0750748494825572E-2"/>
                  <c:y val="-5.360184106678138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 5 </a:t>
                    </a:r>
                    <a:r>
                      <a:rPr lang="en-US" dirty="0" smtClean="0"/>
                      <a:t>021 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/>
                      <a:t> 5 </a:t>
                    </a:r>
                    <a:r>
                      <a:rPr lang="en-US" smtClean="0"/>
                      <a:t>075   </a:t>
                    </a:r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7
(отчет)</c:v>
                </c:pt>
                <c:pt idx="1">
                  <c:v>2018 
(отчет)</c:v>
                </c:pt>
                <c:pt idx="2">
                  <c:v>2019 
(отчет)</c:v>
                </c:pt>
                <c:pt idx="3">
                  <c:v>2020 
(оценка)</c:v>
                </c:pt>
                <c:pt idx="4">
                  <c:v>2021 
(проект)</c:v>
                </c:pt>
                <c:pt idx="5">
                  <c:v>2022 
(проект)</c:v>
                </c:pt>
                <c:pt idx="6">
                  <c:v>2023 
(проект)</c:v>
                </c:pt>
              </c:strCache>
            </c:strRef>
          </c:cat>
          <c:val>
            <c:numRef>
              <c:f>Лист1!$B$2:$B$8</c:f>
              <c:numCache>
                <c:formatCode>#,##0</c:formatCode>
                <c:ptCount val="7"/>
                <c:pt idx="0">
                  <c:v>3715</c:v>
                </c:pt>
                <c:pt idx="1">
                  <c:v>3827</c:v>
                </c:pt>
                <c:pt idx="2">
                  <c:v>5021</c:v>
                </c:pt>
                <c:pt idx="3">
                  <c:v>5075</c:v>
                </c:pt>
                <c:pt idx="4">
                  <c:v>5131</c:v>
                </c:pt>
                <c:pt idx="5">
                  <c:v>4861</c:v>
                </c:pt>
                <c:pt idx="6">
                  <c:v>460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699584"/>
        <c:axId val="39701120"/>
      </c:lineChart>
      <c:catAx>
        <c:axId val="396995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9701120"/>
        <c:crosses val="autoZero"/>
        <c:auto val="1"/>
        <c:lblAlgn val="ctr"/>
        <c:lblOffset val="100"/>
        <c:noMultiLvlLbl val="0"/>
      </c:catAx>
      <c:valAx>
        <c:axId val="39701120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one"/>
        <c:crossAx val="3969958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1629986181056"/>
          <c:y val="7.5526668046643347E-2"/>
          <c:w val="0.74528301886792447"/>
          <c:h val="0.9150579150579145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3333FF"/>
              </a:solidFill>
            </c:spPr>
          </c:dPt>
          <c:dPt>
            <c:idx val="1"/>
            <c:bubble3D val="0"/>
            <c:spPr>
              <a:solidFill>
                <a:srgbClr val="00B050"/>
              </a:solidFill>
            </c:spPr>
          </c:dPt>
          <c:dPt>
            <c:idx val="2"/>
            <c:bubble3D val="0"/>
            <c:spPr>
              <a:solidFill>
                <a:schemeClr val="tx2">
                  <a:lumMod val="50000"/>
                  <a:lumOff val="50000"/>
                </a:schemeClr>
              </a:solidFill>
            </c:spPr>
          </c:dPt>
          <c:dPt>
            <c:idx val="3"/>
            <c:bubble3D val="0"/>
            <c:spPr>
              <a:solidFill>
                <a:srgbClr val="FF0000"/>
              </a:solidFill>
            </c:spPr>
          </c:dPt>
          <c:dPt>
            <c:idx val="4"/>
            <c:bubble3D val="0"/>
            <c:spPr>
              <a:solidFill>
                <a:srgbClr val="7030A0"/>
              </a:solidFill>
            </c:spPr>
          </c:dPt>
          <c:dPt>
            <c:idx val="5"/>
            <c:bubble3D val="0"/>
            <c:spPr>
              <a:solidFill>
                <a:srgbClr val="FFFF00"/>
              </a:solidFill>
            </c:spPr>
          </c:dPt>
          <c:cat>
            <c:strRef>
              <c:f>Лист1!$A$2:$A$7</c:f>
              <c:strCache>
                <c:ptCount val="6"/>
                <c:pt idx="0">
                  <c:v>Прочие неналоговые</c:v>
                </c:pt>
                <c:pt idx="1">
                  <c:v>НВОС</c:v>
                </c:pt>
                <c:pt idx="2">
                  <c:v>Платные</c:v>
                </c:pt>
                <c:pt idx="3">
                  <c:v>Штрафы</c:v>
                </c:pt>
                <c:pt idx="4">
                  <c:v>Продажа мун. Им-ва</c:v>
                </c:pt>
                <c:pt idx="5">
                  <c:v>Доходы от испол. Мун. Им-ва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9.7000000000000011</c:v>
                </c:pt>
                <c:pt idx="1">
                  <c:v>0.73000000000000065</c:v>
                </c:pt>
                <c:pt idx="2">
                  <c:v>3.64</c:v>
                </c:pt>
                <c:pt idx="3">
                  <c:v>5.1499999999999995</c:v>
                </c:pt>
                <c:pt idx="4">
                  <c:v>13</c:v>
                </c:pt>
                <c:pt idx="5">
                  <c:v>67.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916666666666672E-2"/>
          <c:y val="0.14010949803149642"/>
          <c:w val="0.71944783464566964"/>
          <c:h val="0.20112828884194367"/>
        </c:manualLayout>
      </c:layou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marker>
            <c:symbol val="circle"/>
            <c:size val="10"/>
          </c:marker>
          <c:cat>
            <c:strRef>
              <c:f>Лист1!$A$2:$A$6</c:f>
              <c:strCache>
                <c:ptCount val="4"/>
                <c:pt idx="0">
                  <c:v>2019</c:v>
                </c:pt>
                <c:pt idx="1">
                  <c:v>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511</c:v>
                </c:pt>
                <c:pt idx="1">
                  <c:v>3497</c:v>
                </c:pt>
                <c:pt idx="2">
                  <c:v>3383</c:v>
                </c:pt>
                <c:pt idx="3">
                  <c:v>3068</c:v>
                </c:pt>
                <c:pt idx="4">
                  <c:v>288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3940864"/>
        <c:axId val="45953792"/>
      </c:lineChart>
      <c:catAx>
        <c:axId val="43940864"/>
        <c:scaling>
          <c:orientation val="minMax"/>
        </c:scaling>
        <c:delete val="1"/>
        <c:axPos val="b"/>
        <c:majorTickMark val="out"/>
        <c:minorTickMark val="none"/>
        <c:tickLblPos val="nextTo"/>
        <c:crossAx val="45953792"/>
        <c:crosses val="autoZero"/>
        <c:auto val="1"/>
        <c:lblAlgn val="ctr"/>
        <c:lblOffset val="100"/>
        <c:noMultiLvlLbl val="0"/>
      </c:catAx>
      <c:valAx>
        <c:axId val="4595379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3940864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542614904060688E-2"/>
          <c:y val="0.15728056823947234"/>
          <c:w val="0.61634973841121332"/>
          <c:h val="0.6360299140689614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dLbls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524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24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 rot="-5400000" vert="horz"/>
              <a:lstStyle/>
              <a:p>
                <a:pPr>
                  <a:defRPr b="1" i="0" baseline="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(оценка)</c:v>
                </c:pt>
                <c:pt idx="2">
                  <c:v>2021(прогноз)</c:v>
                </c:pt>
                <c:pt idx="3">
                  <c:v>2022(прогноз)</c:v>
                </c:pt>
                <c:pt idx="4">
                  <c:v>2023(прогноз)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817439</c:v>
                </c:pt>
                <c:pt idx="1">
                  <c:v>2189243</c:v>
                </c:pt>
                <c:pt idx="2">
                  <c:v>2524248</c:v>
                </c:pt>
                <c:pt idx="3">
                  <c:v>2555166</c:v>
                </c:pt>
                <c:pt idx="4">
                  <c:v>260709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убсидии</c:v>
                </c:pt>
              </c:strCache>
            </c:strRef>
          </c:tx>
          <c:spPr>
            <a:solidFill>
              <a:srgbClr val="8D1DE1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u="none" baseline="0" smtClean="0"/>
                      <a:t>670</a:t>
                    </a:r>
                    <a:r>
                      <a:rPr lang="ru-RU" u="none" baseline="0" smtClean="0"/>
                      <a:t> </a:t>
                    </a:r>
                    <a:r>
                      <a:rPr lang="en-US" u="none" baseline="0" smtClean="0"/>
                      <a:t>51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u="none" baseline="0" smtClean="0"/>
                      <a:t>913</a:t>
                    </a:r>
                    <a:r>
                      <a:rPr lang="ru-RU" u="none" baseline="0" smtClean="0"/>
                      <a:t> </a:t>
                    </a:r>
                    <a:r>
                      <a:rPr lang="en-US" u="none" baseline="0" smtClean="0"/>
                      <a:t>738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u="none" baseline="0" smtClean="0"/>
                      <a:t>759</a:t>
                    </a:r>
                    <a:r>
                      <a:rPr lang="ru-RU" u="none" baseline="0" smtClean="0"/>
                      <a:t> </a:t>
                    </a:r>
                    <a:r>
                      <a:rPr lang="en-US" u="none" baseline="0" smtClean="0"/>
                      <a:t>09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delete val="1"/>
            </c:dLbl>
            <c:dLbl>
              <c:idx val="4"/>
              <c:delete val="1"/>
            </c:dLbl>
            <c:txPr>
              <a:bodyPr rot="-5400000" vert="horz"/>
              <a:lstStyle/>
              <a:p>
                <a:pPr>
                  <a:defRPr sz="1120" b="1" i="0" u="none" baseline="0">
                    <a:solidFill>
                      <a:schemeClr val="accent3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(оценка)</c:v>
                </c:pt>
                <c:pt idx="2">
                  <c:v>2021(прогноз)</c:v>
                </c:pt>
                <c:pt idx="3">
                  <c:v>2022(прогноз)</c:v>
                </c:pt>
                <c:pt idx="4">
                  <c:v>2023(прогноз)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670510</c:v>
                </c:pt>
                <c:pt idx="1">
                  <c:v>913738</c:v>
                </c:pt>
                <c:pt idx="2">
                  <c:v>759091</c:v>
                </c:pt>
                <c:pt idx="3">
                  <c:v>406814</c:v>
                </c:pt>
                <c:pt idx="4">
                  <c:v>9946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чие безвозмездные поступления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(оценка)</c:v>
                </c:pt>
                <c:pt idx="2">
                  <c:v>2021(прогноз)</c:v>
                </c:pt>
                <c:pt idx="3">
                  <c:v>2022(прогноз)</c:v>
                </c:pt>
                <c:pt idx="4">
                  <c:v>2023(прогноз)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022559</c:v>
                </c:pt>
                <c:pt idx="1">
                  <c:v>59481</c:v>
                </c:pt>
                <c:pt idx="2">
                  <c:v>99843</c:v>
                </c:pt>
                <c:pt idx="3">
                  <c:v>105613</c:v>
                </c:pt>
                <c:pt idx="4">
                  <c:v>61175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Дотации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(оценка)</c:v>
                </c:pt>
                <c:pt idx="2">
                  <c:v>2021(прогноз)</c:v>
                </c:pt>
                <c:pt idx="3">
                  <c:v>2022(прогноз)</c:v>
                </c:pt>
                <c:pt idx="4">
                  <c:v>2023(прогноз)</c:v>
                </c:pt>
              </c:strCache>
            </c:strRef>
          </c:cat>
          <c:val>
            <c:numRef>
              <c:f>Лист1!$E$2:$E$6</c:f>
              <c:numCache>
                <c:formatCode>General</c:formatCode>
                <c:ptCount val="5"/>
                <c:pt idx="0">
                  <c:v>748</c:v>
                </c:pt>
                <c:pt idx="1">
                  <c:v>335520</c:v>
                </c:pt>
                <c:pt idx="2">
                  <c:v>0</c:v>
                </c:pt>
                <c:pt idx="3">
                  <c:v>0</c:v>
                </c:pt>
                <c:pt idx="4">
                  <c:v>12077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5988864"/>
        <c:axId val="45998848"/>
      </c:barChart>
      <c:catAx>
        <c:axId val="4598886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45998848"/>
        <c:crosses val="autoZero"/>
        <c:auto val="1"/>
        <c:lblAlgn val="ctr"/>
        <c:lblOffset val="100"/>
        <c:noMultiLvlLbl val="0"/>
      </c:catAx>
      <c:valAx>
        <c:axId val="459988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5988864"/>
        <c:crosses val="autoZero"/>
        <c:crossBetween val="between"/>
      </c:valAx>
    </c:plotArea>
    <c:legend>
      <c:legendPos val="tr"/>
      <c:layout>
        <c:manualLayout>
          <c:xMode val="edge"/>
          <c:yMode val="edge"/>
          <c:x val="0.61378633626412682"/>
          <c:y val="0.27152277655725854"/>
          <c:w val="0.34285634280742444"/>
          <c:h val="0.65219649165182303"/>
        </c:manualLayout>
      </c:layout>
      <c:overlay val="0"/>
      <c:txPr>
        <a:bodyPr/>
        <a:lstStyle/>
        <a:p>
          <a:pPr>
            <a:defRPr sz="1200" b="1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783085041199119"/>
          <c:y val="0.10937882774215464"/>
          <c:w val="0.74528301886792447"/>
          <c:h val="0.9150579150579145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2"/>
          <c:dPt>
            <c:idx val="0"/>
            <c:bubble3D val="0"/>
            <c:explosion val="0"/>
            <c:spPr>
              <a:solidFill>
                <a:srgbClr val="FFFF00"/>
              </a:solidFill>
            </c:spPr>
          </c:dPt>
          <c:dPt>
            <c:idx val="1"/>
            <c:bubble3D val="0"/>
            <c:spPr>
              <a:solidFill>
                <a:srgbClr val="8D1DE1"/>
              </a:solidFill>
            </c:spPr>
          </c:dPt>
          <c:dPt>
            <c:idx val="2"/>
            <c:bubble3D val="0"/>
            <c:spPr>
              <a:solidFill>
                <a:srgbClr val="00B050"/>
              </a:solidFill>
            </c:spPr>
          </c:dPt>
          <c:dPt>
            <c:idx val="3"/>
            <c:bubble3D val="0"/>
            <c:spPr>
              <a:solidFill>
                <a:srgbClr val="FF0000"/>
              </a:solidFill>
            </c:spPr>
          </c:dPt>
          <c:cat>
            <c:strRef>
              <c:f>Лист1!$A$2:$A$5</c:f>
              <c:strCache>
                <c:ptCount val="4"/>
                <c:pt idx="0">
                  <c:v>Субвенции</c:v>
                </c:pt>
                <c:pt idx="1">
                  <c:v>Субсидии</c:v>
                </c:pt>
                <c:pt idx="2">
                  <c:v>Прочие</c:v>
                </c:pt>
                <c:pt idx="3">
                  <c:v>Дотации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75</c:v>
                </c:pt>
                <c:pt idx="1">
                  <c:v>22</c:v>
                </c:pt>
                <c:pt idx="2">
                  <c:v>3</c:v>
                </c:pt>
                <c:pt idx="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024715660542463E-3"/>
          <c:y val="0.28607962918680285"/>
          <c:w val="0.99689752843394552"/>
          <c:h val="0.43170639135584926"/>
        </c:manualLayout>
      </c:layout>
      <c:lineChart>
        <c:grouping val="standard"/>
        <c:varyColors val="0"/>
        <c:ser>
          <c:idx val="0"/>
          <c:order val="0"/>
          <c:spPr>
            <a:ln w="98425">
              <a:solidFill>
                <a:schemeClr val="accent5">
                  <a:lumMod val="75000"/>
                </a:schemeClr>
              </a:solidFill>
            </a:ln>
          </c:spPr>
          <c:marker>
            <c:symbol val="x"/>
            <c:size val="17"/>
            <c:spPr>
              <a:solidFill>
                <a:schemeClr val="accent5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5.6439413823272132E-2"/>
                  <c:y val="-0.23753413116376859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95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0559273840769907E-2"/>
                  <c:y val="-0.28453712302789996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77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5.2218613298337803E-2"/>
                  <c:y val="-0.3039473976899254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71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5.3228674540682412E-2"/>
                  <c:y val="-0.24074565818230387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586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5.290409011373589E-2"/>
                  <c:y val="-0.2510774603633613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526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5.1731627296587923E-2"/>
                  <c:y val="-0.25382255131491926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93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3.9610345581802348E-2"/>
                  <c:y val="-0.21990548934774065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67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000" b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Доходы 2017-2020'!$B$6:$H$6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Оценка 2019</c:v>
                </c:pt>
                <c:pt idx="4">
                  <c:v>План 2020</c:v>
                </c:pt>
                <c:pt idx="5">
                  <c:v> План 2021</c:v>
                </c:pt>
                <c:pt idx="6">
                  <c:v>План 2022</c:v>
                </c:pt>
              </c:strCache>
            </c:strRef>
          </c:cat>
          <c:val>
            <c:numRef>
              <c:f>'Доходы 2017-2020'!$B$7:$H$7</c:f>
              <c:numCache>
                <c:formatCode>General</c:formatCode>
                <c:ptCount val="7"/>
                <c:pt idx="0">
                  <c:v>4008</c:v>
                </c:pt>
                <c:pt idx="1">
                  <c:v>3951</c:v>
                </c:pt>
                <c:pt idx="2">
                  <c:v>3778</c:v>
                </c:pt>
                <c:pt idx="3">
                  <c:v>5035</c:v>
                </c:pt>
                <c:pt idx="4">
                  <c:v>4468</c:v>
                </c:pt>
                <c:pt idx="5">
                  <c:v>3866</c:v>
                </c:pt>
                <c:pt idx="6">
                  <c:v>400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158208"/>
        <c:axId val="72164096"/>
      </c:lineChart>
      <c:catAx>
        <c:axId val="72158208"/>
        <c:scaling>
          <c:orientation val="minMax"/>
        </c:scaling>
        <c:delete val="1"/>
        <c:axPos val="b"/>
        <c:majorTickMark val="out"/>
        <c:minorTickMark val="none"/>
        <c:tickLblPos val="nextTo"/>
        <c:crossAx val="72164096"/>
        <c:crosses val="autoZero"/>
        <c:auto val="1"/>
        <c:lblAlgn val="ctr"/>
        <c:lblOffset val="100"/>
        <c:noMultiLvlLbl val="0"/>
      </c:catAx>
      <c:valAx>
        <c:axId val="721640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72158208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  <c:userShapes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7622907084109031"/>
          <c:y val="4.3459344247869756E-2"/>
          <c:w val="0.6071042643149317"/>
          <c:h val="0.93170674475334747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0000FF"/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</c:spPr>
          </c:dPt>
          <c:dPt>
            <c:idx val="3"/>
            <c:invertIfNegative val="0"/>
            <c:bubble3D val="0"/>
            <c:spPr>
              <a:solidFill>
                <a:schemeClr val="tx2">
                  <a:lumMod val="25000"/>
                </a:schemeClr>
              </a:solidFill>
            </c:spPr>
          </c:dPt>
          <c:dPt>
            <c:idx val="4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5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50"/>
              </a:solidFill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</c:spPr>
          </c:dPt>
          <c:dPt>
            <c:idx val="7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solidFill>
                  <a:srgbClr val="92D050"/>
                </a:solidFill>
              </a:ln>
            </c:spPr>
          </c:dPt>
          <c:dPt>
            <c:idx val="8"/>
            <c:invertIfNegative val="0"/>
            <c:bubble3D val="0"/>
            <c:spPr>
              <a:solidFill>
                <a:schemeClr val="accent4">
                  <a:lumMod val="50000"/>
                </a:schemeClr>
              </a:solidFill>
            </c:spPr>
          </c:dPt>
          <c:dPt>
            <c:idx val="9"/>
            <c:invertIfNegative val="0"/>
            <c:bubble3D val="0"/>
            <c:spPr>
              <a:solidFill>
                <a:srgbClr val="FFFF00"/>
              </a:solidFill>
            </c:spPr>
          </c:dPt>
          <c:dPt>
            <c:idx val="10"/>
            <c:invertIfNegative val="0"/>
            <c:bubble3D val="0"/>
            <c:spPr>
              <a:solidFill>
                <a:srgbClr val="FF9933"/>
              </a:solidFill>
            </c:spPr>
          </c:dPt>
          <c:dPt>
            <c:idx val="11"/>
            <c:invertIfNegative val="0"/>
            <c:bubble3D val="0"/>
            <c:spPr>
              <a:solidFill>
                <a:srgbClr val="FF3300"/>
              </a:solidFill>
            </c:spPr>
          </c:dPt>
          <c:dPt>
            <c:idx val="12"/>
            <c:invertIfNegative val="0"/>
            <c:bubble3D val="0"/>
            <c:spPr>
              <a:solidFill>
                <a:srgbClr val="CC0066"/>
              </a:solidFill>
            </c:spPr>
          </c:dPt>
          <c:dPt>
            <c:idx val="13"/>
            <c:invertIfNegative val="0"/>
            <c:bubble3D val="0"/>
            <c:spPr>
              <a:solidFill>
                <a:srgbClr val="FF3300"/>
              </a:solidFill>
            </c:spPr>
          </c:dPt>
          <c:cat>
            <c:strRef>
              <c:f>Лист2!$A$2:$A$15</c:f>
              <c:strCache>
                <c:ptCount val="14"/>
                <c:pt idx="0">
                  <c:v>Развитие образования</c:v>
                </c:pt>
                <c:pt idx="1">
                  <c:v>Социальная поддержка граждан</c:v>
                </c:pt>
                <c:pt idx="2">
                  <c:v>Развитие транспортной системы</c:v>
                </c:pt>
                <c:pt idx="3">
                  <c:v>Развитие ЖКХ, градостроительства</c:v>
                </c:pt>
                <c:pt idx="4">
                  <c:v>Экология и охрана окружающей среды</c:v>
                </c:pt>
                <c:pt idx="5">
                  <c:v>Развитие информационного общества</c:v>
                </c:pt>
                <c:pt idx="6">
                  <c:v>Управление финансами</c:v>
                </c:pt>
                <c:pt idx="7">
                  <c:v>Развитие физической культуры</c:v>
                </c:pt>
                <c:pt idx="8">
                  <c:v>Формирование городской среды</c:v>
                </c:pt>
                <c:pt idx="9">
                  <c:v>Сохранение и развитие культуры</c:v>
                </c:pt>
                <c:pt idx="10">
                  <c:v>Модернизация экономики</c:v>
                </c:pt>
                <c:pt idx="11">
                  <c:v>Управление имуществом</c:v>
                </c:pt>
                <c:pt idx="12">
                  <c:v>Безопасный Пятигорск</c:v>
                </c:pt>
                <c:pt idx="13">
                  <c:v>Молодежная политика</c:v>
                </c:pt>
              </c:strCache>
            </c:strRef>
          </c:cat>
          <c:val>
            <c:numRef>
              <c:f>Лист2!$B$2:$B$15</c:f>
              <c:numCache>
                <c:formatCode>#,##0_ ;[Red]\-#,##0\ </c:formatCode>
                <c:ptCount val="14"/>
                <c:pt idx="0">
                  <c:v>2092</c:v>
                </c:pt>
                <c:pt idx="1">
                  <c:v>1305</c:v>
                </c:pt>
                <c:pt idx="2">
                  <c:v>392</c:v>
                </c:pt>
                <c:pt idx="3">
                  <c:v>309</c:v>
                </c:pt>
                <c:pt idx="4">
                  <c:v>201</c:v>
                </c:pt>
                <c:pt idx="5">
                  <c:v>192</c:v>
                </c:pt>
                <c:pt idx="6">
                  <c:v>158</c:v>
                </c:pt>
                <c:pt idx="7">
                  <c:v>156</c:v>
                </c:pt>
                <c:pt idx="8">
                  <c:v>136</c:v>
                </c:pt>
                <c:pt idx="9">
                  <c:v>131</c:v>
                </c:pt>
                <c:pt idx="10">
                  <c:v>55</c:v>
                </c:pt>
                <c:pt idx="11">
                  <c:v>47</c:v>
                </c:pt>
                <c:pt idx="12">
                  <c:v>41</c:v>
                </c:pt>
                <c:pt idx="13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2219264"/>
        <c:axId val="87294336"/>
      </c:barChart>
      <c:catAx>
        <c:axId val="72219264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87294336"/>
        <c:crosses val="autoZero"/>
        <c:auto val="1"/>
        <c:lblAlgn val="ctr"/>
        <c:lblOffset val="100"/>
        <c:noMultiLvlLbl val="0"/>
      </c:catAx>
      <c:valAx>
        <c:axId val="87294336"/>
        <c:scaling>
          <c:orientation val="minMax"/>
        </c:scaling>
        <c:delete val="1"/>
        <c:axPos val="b"/>
        <c:majorGridlines/>
        <c:numFmt formatCode="#,##0_ ;[Red]\-#,##0\ " sourceLinked="1"/>
        <c:majorTickMark val="out"/>
        <c:minorTickMark val="none"/>
        <c:tickLblPos val="nextTo"/>
        <c:crossAx val="72219264"/>
        <c:crosses val="autoZero"/>
        <c:crossBetween val="between"/>
      </c:valAx>
    </c:plotArea>
    <c:plotVisOnly val="1"/>
    <c:dispBlanksAs val="gap"/>
    <c:showDLblsOverMax val="0"/>
  </c:chart>
  <c:spPr>
    <a:solidFill>
      <a:schemeClr val="accent2">
        <a:lumMod val="20000"/>
        <a:lumOff val="80000"/>
      </a:schemeClr>
    </a:solidFill>
  </c:spPr>
  <c:externalData r:id="rId1">
    <c:autoUpdate val="0"/>
  </c:externalData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0232717915571082E-2"/>
          <c:y val="8.3048895643748066E-3"/>
          <c:w val="0.93976728268309584"/>
          <c:h val="0.94968552553054464"/>
        </c:manualLayout>
      </c:layout>
      <c:ofPieChart>
        <c:ofPieType val="bar"/>
        <c:varyColors val="1"/>
        <c:ser>
          <c:idx val="0"/>
          <c:order val="0"/>
          <c:spPr>
            <a:solidFill>
              <a:schemeClr val="accent5">
                <a:lumMod val="40000"/>
                <a:lumOff val="60000"/>
              </a:schemeClr>
            </a:solidFill>
          </c:spPr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</c:spPr>
          </c:dPt>
          <c:dPt>
            <c:idx val="2"/>
            <c:bubble3D val="0"/>
            <c:spPr>
              <a:solidFill>
                <a:schemeClr val="accent2">
                  <a:lumMod val="75000"/>
                </a:schemeClr>
              </a:solidFill>
            </c:spPr>
          </c:dPt>
          <c:cat>
            <c:strRef>
              <c:f>'Муниципальные программы'!$G$957:$I$957</c:f>
              <c:strCache>
                <c:ptCount val="3"/>
                <c:pt idx="0">
                  <c:v>Програмные расходы</c:v>
                </c:pt>
                <c:pt idx="1">
                  <c:v>обеспечение деятельности Думы города Пятигорска</c:v>
                </c:pt>
                <c:pt idx="2">
                  <c:v>-отдельные государственные полномочия, переданные на исполнение администрации города Пятигорска</c:v>
                </c:pt>
              </c:strCache>
            </c:strRef>
          </c:cat>
          <c:val>
            <c:numRef>
              <c:f>'Муниципальные программы'!$G$958:$I$958</c:f>
              <c:numCache>
                <c:formatCode>#,##0.00</c:formatCode>
                <c:ptCount val="3"/>
                <c:pt idx="0" formatCode="0">
                  <c:v>4432.8769660000034</c:v>
                </c:pt>
                <c:pt idx="1">
                  <c:v>25.419</c:v>
                </c:pt>
                <c:pt idx="2">
                  <c:v>9.9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gapWidth val="100"/>
        <c:secondPieSize val="75"/>
        <c:serLines>
          <c:spPr>
            <a:ln w="31750">
              <a:solidFill>
                <a:schemeClr val="accent2">
                  <a:lumMod val="75000"/>
                </a:schemeClr>
              </a:solidFill>
            </a:ln>
          </c:spPr>
        </c:serLines>
      </c:ofPieChart>
    </c:plotArea>
    <c:plotVisOnly val="1"/>
    <c:dispBlanksAs val="zero"/>
    <c:showDLblsOverMax val="0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497313211787825E-2"/>
          <c:y val="7.6133353002268672E-2"/>
          <c:w val="0.90925492577838907"/>
          <c:h val="0.8326249939030273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explosion val="34"/>
          <c:dPt>
            <c:idx val="0"/>
            <c:bubble3D val="0"/>
            <c:explosion val="0"/>
            <c:spPr>
              <a:solidFill>
                <a:schemeClr val="accent2">
                  <a:lumMod val="40000"/>
                  <a:lumOff val="60000"/>
                </a:schemeClr>
              </a:solidFill>
              <a:scene3d>
                <a:camera prst="orthographicFront"/>
                <a:lightRig rig="threePt" dir="t"/>
              </a:scene3d>
              <a:sp3d prstMaterial="metal">
                <a:bevelT/>
              </a:sp3d>
            </c:spPr>
          </c:dPt>
          <c:dPt>
            <c:idx val="1"/>
            <c:bubble3D val="0"/>
            <c:explosion val="10"/>
            <c:spPr>
              <a:solidFill>
                <a:schemeClr val="accent2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 prstMaterial="metal">
                <a:bevelT/>
                <a:bevelB prst="angle"/>
              </a:sp3d>
            </c:spPr>
          </c:dPt>
          <c:cat>
            <c:strRef>
              <c:f>Лист1!$A$2:$A$3</c:f>
              <c:strCache>
                <c:ptCount val="2"/>
                <c:pt idx="0">
                  <c:v>комфортная городская среда</c:v>
                </c:pt>
                <c:pt idx="1">
                  <c:v>человеческий капитал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62.39999999999969</c:v>
                </c:pt>
                <c:pt idx="1">
                  <c:v>218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14"/>
        <c:holeSize val="43"/>
      </c:doughnutChart>
    </c:plotArea>
    <c:plotVisOnly val="1"/>
    <c:dispBlanksAs val="zero"/>
    <c:showDLblsOverMax val="0"/>
  </c:chart>
  <c:spPr>
    <a:scene3d>
      <a:camera prst="orthographicFront"/>
      <a:lightRig rig="threePt" dir="t"/>
    </a:scene3d>
    <a:sp3d>
      <a:bevelT/>
    </a:sp3d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30338673892881E-2"/>
          <c:y val="5.4465973069698276E-2"/>
          <c:w val="0.90925492577838907"/>
          <c:h val="0.83262499390302702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explosion val="34"/>
          <c:dPt>
            <c:idx val="0"/>
            <c:bubble3D val="0"/>
            <c:explosion val="0"/>
            <c:spPr>
              <a:solidFill>
                <a:schemeClr val="accent2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 prstMaterial="metal">
                <a:bevelT/>
              </a:sp3d>
            </c:spPr>
          </c:dPt>
          <c:dPt>
            <c:idx val="1"/>
            <c:bubble3D val="0"/>
            <c:explosion val="10"/>
            <c:spPr>
              <a:solidFill>
                <a:schemeClr val="accent2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 prstMaterial="metal">
                <a:bevelT/>
                <a:bevelB prst="angle"/>
              </a:sp3d>
            </c:spPr>
          </c:dPt>
          <c:cat>
            <c:strRef>
              <c:f>Лист1!$A$2:$A$3</c:f>
              <c:strCache>
                <c:ptCount val="2"/>
                <c:pt idx="0">
                  <c:v>межбюджетные</c:v>
                </c:pt>
                <c:pt idx="1">
                  <c:v>местный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797.74</c:v>
                </c:pt>
                <c:pt idx="1">
                  <c:v>33.910000000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14"/>
        <c:holeSize val="43"/>
      </c:doughnutChart>
      <c:spPr>
        <a:noFill/>
        <a:ln w="25400">
          <a:noFill/>
        </a:ln>
      </c:spPr>
    </c:plotArea>
    <c:plotVisOnly val="1"/>
    <c:dispBlanksAs val="zero"/>
    <c:showDLblsOverMax val="0"/>
  </c:chart>
  <c:spPr>
    <a:scene3d>
      <a:camera prst="orthographicFront"/>
      <a:lightRig rig="threePt" dir="t"/>
    </a:scene3d>
    <a:sp3d>
      <a:bevelT/>
    </a:sp3d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728522336769784E-3"/>
          <c:y val="0.15584806041259888"/>
          <c:w val="0.94959908361970302"/>
          <c:h val="0.594892447965001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99167">
                  <a:schemeClr val="accent6">
                    <a:lumMod val="75000"/>
                  </a:schemeClr>
                </a:gs>
                <a:gs pos="47000">
                  <a:schemeClr val="accent6">
                    <a:lumMod val="60000"/>
                    <a:lumOff val="40000"/>
                  </a:schemeClr>
                </a:gs>
                <a:gs pos="0">
                  <a:srgbClr val="EEDFA0"/>
                </a:gs>
              </a:gsLst>
              <a:lin ang="0" scaled="1"/>
            </a:gra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600" b="1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sz="1600" b="1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3</c:f>
              <c:strCache>
                <c:ptCount val="2"/>
                <c:pt idx="0">
                  <c:v>01.01.2021</c:v>
                </c:pt>
                <c:pt idx="1">
                  <c:v>01.01.2020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2392</c:v>
                </c:pt>
                <c:pt idx="1">
                  <c:v>121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87882752"/>
        <c:axId val="102105856"/>
      </c:barChart>
      <c:catAx>
        <c:axId val="87882752"/>
        <c:scaling>
          <c:orientation val="maxMin"/>
        </c:scaling>
        <c:delete val="0"/>
        <c:axPos val="b"/>
        <c:numFmt formatCode="@" sourceLinked="1"/>
        <c:majorTickMark val="out"/>
        <c:minorTickMark val="none"/>
        <c:tickLblPos val="nextTo"/>
        <c:crossAx val="102105856"/>
        <c:crosses val="autoZero"/>
        <c:auto val="1"/>
        <c:lblAlgn val="ctr"/>
        <c:lblOffset val="100"/>
        <c:noMultiLvlLbl val="0"/>
      </c:catAx>
      <c:valAx>
        <c:axId val="102105856"/>
        <c:scaling>
          <c:orientation val="minMax"/>
        </c:scaling>
        <c:delete val="1"/>
        <c:axPos val="r"/>
        <c:numFmt formatCode="#,##0" sourceLinked="1"/>
        <c:majorTickMark val="out"/>
        <c:minorTickMark val="none"/>
        <c:tickLblPos val="none"/>
        <c:crossAx val="878827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kumimoji="0" lang="ru-RU" sz="1400" b="0" kern="1200" dirty="0" smtClean="0">
          <a:solidFill>
            <a:schemeClr val="dk1"/>
          </a:solidFill>
          <a:latin typeface="Arial" pitchFamily="34" charset="0"/>
          <a:ea typeface="Tahoma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274196385586784E-2"/>
          <c:y val="8.2555838949336782E-2"/>
          <c:w val="0.95752561206402298"/>
          <c:h val="0.58159479864556107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логовые доходы </c:v>
                </c:pt>
              </c:strCache>
            </c:strRef>
          </c:tx>
          <c:spPr>
            <a:ln w="76200">
              <a:solidFill>
                <a:srgbClr val="E5F35B"/>
              </a:solidFill>
            </a:ln>
          </c:spPr>
          <c:marker>
            <c:symbol val="circle"/>
            <c:size val="23"/>
            <c:spPr>
              <a:solidFill>
                <a:srgbClr val="E5F35B"/>
              </a:solidFill>
              <a:ln>
                <a:solidFill>
                  <a:srgbClr val="E5F35B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marker>
          <c:dLbls>
            <c:dLbl>
              <c:idx val="3"/>
              <c:layout>
                <c:manualLayout>
                  <c:x val="-7.7861298239589538E-2"/>
                  <c:y val="-0.1672203765227022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7.2646083401201531E-2"/>
                  <c:y val="-0.1737179654868725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7.113993761941971E-2"/>
                  <c:y val="-0.142581595905163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4.9690874567655897E-2"/>
                  <c:y val="-0.1303040608296056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7
(отчет)</c:v>
                </c:pt>
                <c:pt idx="1">
                  <c:v>2018 
(отчет)</c:v>
                </c:pt>
                <c:pt idx="2">
                  <c:v>2019 
(отчет)</c:v>
                </c:pt>
                <c:pt idx="3">
                  <c:v>2020 
(оценка)</c:v>
                </c:pt>
                <c:pt idx="4">
                  <c:v>2021 
(проект)</c:v>
                </c:pt>
                <c:pt idx="5">
                  <c:v>2022 
(проект)</c:v>
                </c:pt>
                <c:pt idx="6">
                  <c:v>2023 
(проект)</c:v>
                </c:pt>
              </c:strCache>
            </c:strRef>
          </c:cat>
          <c:val>
            <c:numRef>
              <c:f>Лист1!$B$2:$B$8</c:f>
              <c:numCache>
                <c:formatCode>#,##0</c:formatCode>
                <c:ptCount val="7"/>
                <c:pt idx="0">
                  <c:v>1023</c:v>
                </c:pt>
                <c:pt idx="1">
                  <c:v>1139</c:v>
                </c:pt>
                <c:pt idx="2">
                  <c:v>1341</c:v>
                </c:pt>
                <c:pt idx="3">
                  <c:v>1454</c:v>
                </c:pt>
                <c:pt idx="4">
                  <c:v>1583</c:v>
                </c:pt>
                <c:pt idx="5">
                  <c:v>1630</c:v>
                </c:pt>
                <c:pt idx="6">
                  <c:v>155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868672"/>
        <c:axId val="39870464"/>
      </c:lineChart>
      <c:catAx>
        <c:axId val="39868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9870464"/>
        <c:crosses val="autoZero"/>
        <c:auto val="1"/>
        <c:lblAlgn val="ctr"/>
        <c:lblOffset val="100"/>
        <c:noMultiLvlLbl val="0"/>
      </c:catAx>
      <c:valAx>
        <c:axId val="39870464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one"/>
        <c:crossAx val="3986867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1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2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Lbls>
            <c:dLbl>
              <c:idx val="2"/>
              <c:spPr/>
              <c:txPr>
                <a:bodyPr/>
                <a:lstStyle/>
                <a:p>
                  <a:pPr>
                    <a:defRPr sz="1600" b="1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 sz="1600" b="1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5</c:f>
              <c:strCache>
                <c:ptCount val="4"/>
                <c:pt idx="0">
                  <c:v>2023</c:v>
                </c:pt>
                <c:pt idx="1">
                  <c:v>2022</c:v>
                </c:pt>
                <c:pt idx="2">
                  <c:v>2021</c:v>
                </c:pt>
                <c:pt idx="3">
                  <c:v>2020</c:v>
                </c:pt>
              </c:strCache>
            </c:strRef>
          </c:cat>
          <c:val>
            <c:numRef>
              <c:f>Лист1!$B$2:$B$5</c:f>
              <c:numCache>
                <c:formatCode>#,##0.00</c:formatCode>
                <c:ptCount val="4"/>
                <c:pt idx="0">
                  <c:v>27848.5</c:v>
                </c:pt>
                <c:pt idx="1">
                  <c:v>27037.4</c:v>
                </c:pt>
                <c:pt idx="2">
                  <c:v>26250.6</c:v>
                </c:pt>
                <c:pt idx="3">
                  <c:v>256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102132352"/>
        <c:axId val="102138240"/>
      </c:barChart>
      <c:catAx>
        <c:axId val="102132352"/>
        <c:scaling>
          <c:orientation val="maxMin"/>
        </c:scaling>
        <c:delete val="0"/>
        <c:axPos val="b"/>
        <c:numFmt formatCode="@" sourceLinked="1"/>
        <c:majorTickMark val="out"/>
        <c:minorTickMark val="none"/>
        <c:tickLblPos val="nextTo"/>
        <c:crossAx val="102138240"/>
        <c:crosses val="autoZero"/>
        <c:auto val="1"/>
        <c:lblAlgn val="ctr"/>
        <c:lblOffset val="100"/>
        <c:noMultiLvlLbl val="0"/>
      </c:catAx>
      <c:valAx>
        <c:axId val="102138240"/>
        <c:scaling>
          <c:orientation val="minMax"/>
        </c:scaling>
        <c:delete val="1"/>
        <c:axPos val="r"/>
        <c:numFmt formatCode="#,##0.00" sourceLinked="1"/>
        <c:majorTickMark val="out"/>
        <c:minorTickMark val="none"/>
        <c:tickLblPos val="none"/>
        <c:crossAx val="1021323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kumimoji="0" lang="ru-RU" sz="1400" b="0" kern="1200" dirty="0" smtClean="0">
          <a:solidFill>
            <a:schemeClr val="dk1"/>
          </a:solidFill>
          <a:latin typeface="Arial" pitchFamily="34" charset="0"/>
          <a:ea typeface="Tahoma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307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41300" h="241300"/>
              <a:bevelB w="241300" h="241300"/>
            </a:sp3d>
          </c:spPr>
          <c:explosion val="1"/>
          <c:dPt>
            <c:idx val="0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Lbls>
            <c:delete val="1"/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3.04</c:v>
                </c:pt>
                <c:pt idx="1">
                  <c:v>8.030000000000001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6.8750000000000019E-2"/>
          <c:w val="0.9541666666666665"/>
          <c:h val="0.9312500000000000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effectLst>
              <a:outerShdw sx="1000" sy="1000" algn="ctr" rotWithShape="0">
                <a:srgbClr val="000000"/>
              </a:outerShdw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explosion val="21"/>
          <c:dPt>
            <c:idx val="0"/>
            <c:bubble3D val="0"/>
            <c:spPr>
              <a:solidFill>
                <a:srgbClr val="FFC000"/>
              </a:solidFill>
              <a:effectLst>
                <a:outerShdw sx="1000" sy="1000" algn="ctr" rotWithShape="0">
                  <a:srgbClr val="000000"/>
                </a:outerShdw>
              </a:effectLst>
              <a:scene3d>
                <a:camera prst="orthographicFront"/>
                <a:lightRig rig="threePt" dir="t"/>
              </a:scene3d>
              <a:sp3d>
                <a:bevelT w="165100" prst="coolSlant"/>
              </a:sp3d>
            </c:spPr>
          </c:dPt>
          <c:dPt>
            <c:idx val="1"/>
            <c:bubble3D val="0"/>
            <c:spPr>
              <a:solidFill>
                <a:schemeClr val="accent5">
                  <a:lumMod val="90000"/>
                </a:schemeClr>
              </a:solidFill>
              <a:effectLst>
                <a:outerShdw sx="1000" sy="1000" algn="ctr" rotWithShape="0">
                  <a:srgbClr val="000000"/>
                </a:outerShdw>
              </a:effectLst>
              <a:scene3d>
                <a:camera prst="orthographicFront"/>
                <a:lightRig rig="threePt" dir="t"/>
              </a:scene3d>
              <a:sp3d>
                <a:bevelT w="165100" prst="coolSlant"/>
              </a:sp3d>
            </c:spPr>
          </c:dPt>
          <c:cat>
            <c:strRef>
              <c:f>Лист1!$A$2:$A$3</c:f>
              <c:strCache>
                <c:ptCount val="2"/>
                <c:pt idx="0">
                  <c:v>социальные расходы</c:v>
                </c:pt>
                <c:pt idx="1">
                  <c:v>другие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421</c:v>
                </c:pt>
                <c:pt idx="1">
                  <c:v>7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</c:dPt>
          <c:dPt>
            <c:idx val="2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3"/>
            <c:invertIfNegative val="0"/>
            <c:bubble3D val="0"/>
            <c:spPr>
              <a:solidFill>
                <a:srgbClr val="FF3300"/>
              </a:solidFill>
            </c:spPr>
          </c:dPt>
          <c:dLbls>
            <c:dLbl>
              <c:idx val="0"/>
              <c:layout>
                <c:manualLayout>
                  <c:x val="-0.11260394403978961"/>
                  <c:y val="9.1895346103002955E-17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09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1561100133278899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r>
                      <a:rPr lang="ru-RU" dirty="0" smtClean="0"/>
                      <a:t>30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smtClean="0"/>
                      <a:t>13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smtClean="0"/>
                      <a:t>156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 b="1">
                    <a:solidFill>
                      <a:srgbClr val="00206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8:$A$21</c:f>
              <c:strCache>
                <c:ptCount val="4"/>
                <c:pt idx="0">
                  <c:v>ОБРАЗОВАНИЕ</c:v>
                </c:pt>
                <c:pt idx="1">
                  <c:v>СОЦИАЛЬНАЯ ПОЛИТИКА</c:v>
                </c:pt>
                <c:pt idx="2">
                  <c:v>КУЛЬТУРА</c:v>
                </c:pt>
                <c:pt idx="3">
                  <c:v>ФИЗИЧЕСКАЯ КУЛЬТУРА И СПОРТ</c:v>
                </c:pt>
              </c:strCache>
            </c:strRef>
          </c:cat>
          <c:val>
            <c:numRef>
              <c:f>Лист2!$B$18:$B$21</c:f>
              <c:numCache>
                <c:formatCode>#,##0</c:formatCode>
                <c:ptCount val="4"/>
                <c:pt idx="0">
                  <c:v>1720.4538070000001</c:v>
                </c:pt>
                <c:pt idx="1">
                  <c:v>1182.5123389999965</c:v>
                </c:pt>
                <c:pt idx="2">
                  <c:v>167.81973299999999</c:v>
                </c:pt>
                <c:pt idx="3">
                  <c:v>155.340718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9046400"/>
        <c:axId val="102671488"/>
      </c:barChart>
      <c:catAx>
        <c:axId val="89046400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800" b="1">
                <a:solidFill>
                  <a:srgbClr val="002060"/>
                </a:solidFill>
              </a:defRPr>
            </a:pPr>
            <a:endParaRPr lang="ru-RU"/>
          </a:p>
        </c:txPr>
        <c:crossAx val="102671488"/>
        <c:crosses val="autoZero"/>
        <c:auto val="1"/>
        <c:lblAlgn val="ctr"/>
        <c:lblOffset val="100"/>
        <c:noMultiLvlLbl val="0"/>
      </c:catAx>
      <c:valAx>
        <c:axId val="102671488"/>
        <c:scaling>
          <c:orientation val="minMax"/>
        </c:scaling>
        <c:delete val="1"/>
        <c:axPos val="b"/>
        <c:numFmt formatCode="#,##0" sourceLinked="1"/>
        <c:majorTickMark val="out"/>
        <c:minorTickMark val="none"/>
        <c:tickLblPos val="nextTo"/>
        <c:crossAx val="89046400"/>
        <c:crosses val="autoZero"/>
        <c:crossBetween val="between"/>
      </c:valAx>
      <c:spPr>
        <a:noFill/>
      </c:spPr>
    </c:plotArea>
    <c:plotVisOnly val="1"/>
    <c:dispBlanksAs val="gap"/>
    <c:showDLblsOverMax val="0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5.9472217135649421E-4"/>
          <c:y val="6.8750002773600119E-2"/>
          <c:w val="0.9541666666666665"/>
          <c:h val="0.9312500000000000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00B0F0"/>
            </a:solidFill>
            <a:effectLst>
              <a:outerShdw sx="1000" sy="1000" algn="ctr" rotWithShape="0">
                <a:srgbClr val="000000"/>
              </a:outerShdw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explosion val="14"/>
          <c:dPt>
            <c:idx val="0"/>
            <c:bubble3D val="0"/>
            <c:spPr>
              <a:solidFill>
                <a:schemeClr val="accent5">
                  <a:lumMod val="90000"/>
                </a:schemeClr>
              </a:solidFill>
              <a:effectLst>
                <a:outerShdw sx="1000" sy="1000" algn="ctr" rotWithShape="0">
                  <a:srgbClr val="000000"/>
                </a:outerShdw>
              </a:effectLst>
              <a:scene3d>
                <a:camera prst="orthographicFront"/>
                <a:lightRig rig="threePt" dir="t"/>
              </a:scene3d>
              <a:sp3d>
                <a:bevelT w="165100" prst="coolSlant"/>
              </a:sp3d>
            </c:spPr>
          </c:dPt>
          <c:dPt>
            <c:idx val="1"/>
            <c:bubble3D val="0"/>
            <c:spPr>
              <a:solidFill>
                <a:srgbClr val="FFC000"/>
              </a:solidFill>
              <a:effectLst>
                <a:outerShdw sx="1000" sy="1000" algn="ctr" rotWithShape="0">
                  <a:srgbClr val="000000"/>
                </a:outerShdw>
              </a:effectLst>
              <a:scene3d>
                <a:camera prst="orthographicFront"/>
                <a:lightRig rig="threePt" dir="t"/>
              </a:scene3d>
              <a:sp3d prstMaterial="metal">
                <a:bevelT w="165100" prst="coolSlant"/>
              </a:sp3d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846</c:v>
                </c:pt>
                <c:pt idx="1">
                  <c:v>403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zero"/>
    <c:showDLblsOverMax val="0"/>
  </c:chart>
  <c:spPr>
    <a:scene3d>
      <a:camera prst="orthographicFront"/>
      <a:lightRig rig="threePt" dir="t"/>
    </a:scene3d>
    <a:sp3d prstMaterial="metal"/>
  </c:spPr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CC0066"/>
              </a:solidFill>
            </c:spPr>
          </c:dPt>
          <c:dPt>
            <c:idx val="1"/>
            <c:invertIfNegative val="0"/>
            <c:bubble3D val="0"/>
            <c:spPr>
              <a:solidFill>
                <a:srgbClr val="FF3300"/>
              </a:solidFill>
            </c:spPr>
          </c:dPt>
          <c:dPt>
            <c:idx val="2"/>
            <c:invertIfNegative val="0"/>
            <c:bubble3D val="0"/>
            <c:spPr>
              <a:solidFill>
                <a:srgbClr val="FFC000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smtClean="0"/>
                      <a:t>26,9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smtClean="0"/>
                      <a:t>398,5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8.2474226804123682E-2"/>
                  <c:y val="-5.1882716995006158E-3"/>
                </c:manualLayout>
              </c:layout>
              <c:tx>
                <c:rich>
                  <a:bodyPr/>
                  <a:lstStyle/>
                  <a:p>
                    <a:r>
                      <a:rPr lang="ru-RU" smtClean="0"/>
                      <a:t>670,6</a:t>
                    </a:r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0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5:$A$27</c:f>
              <c:strCache>
                <c:ptCount val="3"/>
                <c:pt idx="0">
                  <c:v>НАЦИОНАЛЬНАЯ БЕЗОПАСНОСТЬ И ПРАВООХРАНИТЕЛЬНАЯ ДЕЯТЕЛЬНОСТЬ</c:v>
                </c:pt>
                <c:pt idx="1">
                  <c:v>НАЦИОНАЛЬНАЯ ЭКОНОМИКА</c:v>
                </c:pt>
                <c:pt idx="2">
                  <c:v>ЖИЛИЩНО-КОММУНАЛЬНОЕ ХОЗЯЙСТВО</c:v>
                </c:pt>
              </c:strCache>
            </c:strRef>
          </c:cat>
          <c:val>
            <c:numRef>
              <c:f>Лист2!$B$25:$B$27</c:f>
              <c:numCache>
                <c:formatCode>#,##0.00</c:formatCode>
                <c:ptCount val="3"/>
                <c:pt idx="0">
                  <c:v>27.557452000000001</c:v>
                </c:pt>
                <c:pt idx="1">
                  <c:v>204.52143800000061</c:v>
                </c:pt>
                <c:pt idx="2">
                  <c:v>560.8145869999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3025664"/>
        <c:axId val="103027456"/>
      </c:barChart>
      <c:catAx>
        <c:axId val="103025664"/>
        <c:scaling>
          <c:orientation val="minMax"/>
        </c:scaling>
        <c:delete val="0"/>
        <c:axPos val="l"/>
        <c:majorTickMark val="out"/>
        <c:minorTickMark val="none"/>
        <c:tickLblPos val="nextTo"/>
        <c:crossAx val="103027456"/>
        <c:crosses val="autoZero"/>
        <c:auto val="1"/>
        <c:lblAlgn val="r"/>
        <c:lblOffset val="100"/>
        <c:noMultiLvlLbl val="0"/>
      </c:catAx>
      <c:valAx>
        <c:axId val="103027456"/>
        <c:scaling>
          <c:orientation val="minMax"/>
        </c:scaling>
        <c:delete val="1"/>
        <c:axPos val="b"/>
        <c:majorGridlines/>
        <c:numFmt formatCode="#,##0.00" sourceLinked="1"/>
        <c:majorTickMark val="out"/>
        <c:minorTickMark val="none"/>
        <c:tickLblPos val="nextTo"/>
        <c:crossAx val="1030256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 algn="l" rtl="0" fontAlgn="base">
        <a:spcBef>
          <a:spcPct val="0"/>
        </a:spcBef>
        <a:spcAft>
          <a:spcPct val="0"/>
        </a:spcAft>
        <a:defRPr lang="ru-RU" sz="1600" b="1" kern="1200" dirty="0" smtClean="0">
          <a:solidFill>
            <a:srgbClr val="002060"/>
          </a:solidFill>
          <a:latin typeface="Arial Cyr" panose="020B0604020202020204" pitchFamily="34" charset="0"/>
          <a:ea typeface="+mn-ea"/>
          <a:cs typeface="Arial Cyr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7879363378084017E-2"/>
          <c:y val="1.8646247487584703E-2"/>
          <c:w val="0.94795879841820074"/>
          <c:h val="0.69586812791222297"/>
        </c:manualLayout>
      </c:layout>
      <c:bar3DChart>
        <c:barDir val="col"/>
        <c:grouping val="stacked"/>
        <c:varyColors val="0"/>
        <c:ser>
          <c:idx val="2"/>
          <c:order val="0"/>
          <c:tx>
            <c:strRef>
              <c:f>Лист1!$A$2</c:f>
              <c:strCache>
                <c:ptCount val="1"/>
                <c:pt idx="0">
                  <c:v>Ремонт дорог </c:v>
                </c:pt>
              </c:strCache>
            </c:strRef>
          </c:tx>
          <c:spPr>
            <a:solidFill>
              <a:srgbClr val="000000">
                <a:alpha val="50980"/>
              </a:srgbClr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 план 2020</c:v>
                </c:pt>
                <c:pt idx="3">
                  <c:v> план 2021</c:v>
                </c:pt>
              </c:strCache>
            </c:strRef>
          </c:cat>
          <c:val>
            <c:numRef>
              <c:f>Лист1!$B$2:$E$2</c:f>
              <c:numCache>
                <c:formatCode>General</c:formatCode>
                <c:ptCount val="4"/>
                <c:pt idx="0">
                  <c:v>76.900000000000006</c:v>
                </c:pt>
                <c:pt idx="1">
                  <c:v>58.7</c:v>
                </c:pt>
                <c:pt idx="2">
                  <c:v>365.3</c:v>
                </c:pt>
                <c:pt idx="3">
                  <c:v>292</c:v>
                </c:pt>
              </c:numCache>
            </c:numRef>
          </c:val>
        </c:ser>
        <c:ser>
          <c:idx val="0"/>
          <c:order val="1"/>
          <c:tx>
            <c:strRef>
              <c:f>Лист1!$A$3</c:f>
              <c:strCache>
                <c:ptCount val="1"/>
                <c:pt idx="0">
                  <c:v>Строительство и реконструкция дорог</c:v>
                </c:pt>
              </c:strCache>
            </c:strRef>
          </c:tx>
          <c:spPr>
            <a:solidFill>
              <a:srgbClr val="0066FF">
                <a:alpha val="79000"/>
              </a:srgbClr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 план 2020</c:v>
                </c:pt>
                <c:pt idx="3">
                  <c:v> план 2021</c:v>
                </c:pt>
              </c:strCache>
            </c:strRef>
          </c:cat>
          <c:val>
            <c:numRef>
              <c:f>Лист1!$B$3:$E$3</c:f>
              <c:numCache>
                <c:formatCode>#,##0.0</c:formatCode>
                <c:ptCount val="4"/>
                <c:pt idx="0">
                  <c:v>6.8</c:v>
                </c:pt>
                <c:pt idx="1">
                  <c:v>26.7</c:v>
                </c:pt>
                <c:pt idx="2">
                  <c:v>49.9</c:v>
                </c:pt>
                <c:pt idx="3">
                  <c:v>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shape val="cylinder"/>
        <c:axId val="103084416"/>
        <c:axId val="103085952"/>
        <c:axId val="0"/>
      </c:bar3DChart>
      <c:catAx>
        <c:axId val="103084416"/>
        <c:scaling>
          <c:orientation val="minMax"/>
        </c:scaling>
        <c:delete val="1"/>
        <c:axPos val="b"/>
        <c:majorTickMark val="out"/>
        <c:minorTickMark val="none"/>
        <c:tickLblPos val="nextTo"/>
        <c:crossAx val="103085952"/>
        <c:crosses val="autoZero"/>
        <c:auto val="1"/>
        <c:lblAlgn val="ctr"/>
        <c:lblOffset val="100"/>
        <c:noMultiLvlLbl val="0"/>
      </c:catAx>
      <c:valAx>
        <c:axId val="10308595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3084416"/>
        <c:crosses val="autoZero"/>
        <c:crossBetween val="between"/>
      </c:valAx>
    </c:plotArea>
    <c:plotVisOnly val="0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9.7532281272703881E-4"/>
          <c:y val="3.3493442722263554E-3"/>
          <c:w val="0.94795879841820074"/>
          <c:h val="0.69586812791222297"/>
        </c:manualLayout>
      </c:layout>
      <c:bar3DChart>
        <c:barDir val="col"/>
        <c:grouping val="stacked"/>
        <c:varyColors val="0"/>
        <c:ser>
          <c:idx val="2"/>
          <c:order val="0"/>
          <c:tx>
            <c:strRef>
              <c:f>Лист1!$A$2</c:f>
              <c:strCache>
                <c:ptCount val="1"/>
                <c:pt idx="0">
                  <c:v>Ремонт дорог </c:v>
                </c:pt>
              </c:strCache>
            </c:strRef>
          </c:tx>
          <c:spPr>
            <a:solidFill>
              <a:srgbClr val="000000">
                <a:alpha val="52941"/>
              </a:srgbClr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  2020 (оценка)</c:v>
                </c:pt>
                <c:pt idx="3">
                  <c:v> 2021 (план)</c:v>
                </c:pt>
              </c:strCache>
            </c:strRef>
          </c:cat>
          <c:val>
            <c:numRef>
              <c:f>Лист1!$B$2:$E$2</c:f>
              <c:numCache>
                <c:formatCode>General</c:formatCode>
                <c:ptCount val="4"/>
                <c:pt idx="0">
                  <c:v>26.605</c:v>
                </c:pt>
                <c:pt idx="1">
                  <c:v>18.5</c:v>
                </c:pt>
                <c:pt idx="2">
                  <c:v>27.8</c:v>
                </c:pt>
                <c:pt idx="3">
                  <c:v>35.4</c:v>
                </c:pt>
              </c:numCache>
            </c:numRef>
          </c:val>
        </c:ser>
        <c:ser>
          <c:idx val="0"/>
          <c:order val="1"/>
          <c:tx>
            <c:strRef>
              <c:f>Лист1!$A$3</c:f>
              <c:strCache>
                <c:ptCount val="1"/>
                <c:pt idx="0">
                  <c:v>Наказы избирателей</c:v>
                </c:pt>
              </c:strCache>
            </c:strRef>
          </c:tx>
          <c:spPr>
            <a:solidFill>
              <a:srgbClr val="0066FF">
                <a:alpha val="61961"/>
              </a:srgbClr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  2020 (оценка)</c:v>
                </c:pt>
                <c:pt idx="3">
                  <c:v> 2021 (план)</c:v>
                </c:pt>
              </c:strCache>
            </c:strRef>
          </c:cat>
          <c:val>
            <c:numRef>
              <c:f>Лист1!$B$3:$E$3</c:f>
              <c:numCache>
                <c:formatCode>General</c:formatCode>
                <c:ptCount val="4"/>
                <c:pt idx="2">
                  <c:v>12.5</c:v>
                </c:pt>
                <c:pt idx="3">
                  <c:v>16.5</c:v>
                </c:pt>
              </c:numCache>
            </c:numRef>
          </c:val>
        </c:ser>
        <c:ser>
          <c:idx val="1"/>
          <c:order val="2"/>
          <c:tx>
            <c:strRef>
              <c:f>Лист1!$A$4</c:f>
              <c:strCache>
                <c:ptCount val="1"/>
                <c:pt idx="0">
                  <c:v>Разметка,  знаки, ограждения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  2020 (оценка)</c:v>
                </c:pt>
                <c:pt idx="3">
                  <c:v> 2021 (план)</c:v>
                </c:pt>
              </c:strCache>
            </c:strRef>
          </c:cat>
          <c:val>
            <c:numRef>
              <c:f>Лист1!$B$4:$E$4</c:f>
              <c:numCache>
                <c:formatCode>General</c:formatCode>
                <c:ptCount val="4"/>
                <c:pt idx="0">
                  <c:v>9.234</c:v>
                </c:pt>
                <c:pt idx="1">
                  <c:v>16</c:v>
                </c:pt>
                <c:pt idx="2">
                  <c:v>9.9</c:v>
                </c:pt>
                <c:pt idx="3">
                  <c:v>7.23</c:v>
                </c:pt>
              </c:numCache>
            </c:numRef>
          </c:val>
        </c:ser>
        <c:ser>
          <c:idx val="3"/>
          <c:order val="3"/>
          <c:tx>
            <c:strRef>
              <c:f>Лист1!$A$5</c:f>
              <c:strCache>
                <c:ptCount val="1"/>
                <c:pt idx="0">
                  <c:v>Ливневки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  2020 (оценка)</c:v>
                </c:pt>
                <c:pt idx="3">
                  <c:v> 2021 (план)</c:v>
                </c:pt>
              </c:strCache>
            </c:strRef>
          </c:cat>
          <c:val>
            <c:numRef>
              <c:f>Лист1!$B$5:$E$5</c:f>
              <c:numCache>
                <c:formatCode>General</c:formatCode>
                <c:ptCount val="4"/>
                <c:pt idx="0">
                  <c:v>4.74</c:v>
                </c:pt>
                <c:pt idx="1">
                  <c:v>3.7</c:v>
                </c:pt>
                <c:pt idx="2">
                  <c:v>3.5</c:v>
                </c:pt>
                <c:pt idx="3">
                  <c:v>3.6</c:v>
                </c:pt>
              </c:numCache>
            </c:numRef>
          </c:val>
        </c:ser>
        <c:ser>
          <c:idx val="4"/>
          <c:order val="4"/>
          <c:tx>
            <c:strRef>
              <c:f>Лист1!$A$6</c:f>
              <c:strCache>
                <c:ptCount val="1"/>
                <c:pt idx="0">
                  <c:v>Строительство и реконструкция дорог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  2020 (оценка)</c:v>
                </c:pt>
                <c:pt idx="3">
                  <c:v> 2021 (план)</c:v>
                </c:pt>
              </c:strCache>
            </c:strRef>
          </c:cat>
          <c:val>
            <c:numRef>
              <c:f>Лист1!$B$6:$E$6</c:f>
              <c:numCache>
                <c:formatCode>#,##0.0</c:formatCode>
                <c:ptCount val="4"/>
                <c:pt idx="0">
                  <c:v>4.5</c:v>
                </c:pt>
                <c:pt idx="1">
                  <c:v>1.6</c:v>
                </c:pt>
                <c:pt idx="2" formatCode="General">
                  <c:v>3.4</c:v>
                </c:pt>
                <c:pt idx="3" formatCode="General">
                  <c:v>0.30000000000000032</c:v>
                </c:pt>
              </c:numCache>
            </c:numRef>
          </c:val>
        </c:ser>
        <c:ser>
          <c:idx val="5"/>
          <c:order val="5"/>
          <c:tx>
            <c:strRef>
              <c:f>Лист1!$A$7</c:f>
              <c:strCache>
                <c:ptCount val="1"/>
                <c:pt idx="0">
                  <c:v>Диагностика обследование паспортизация уличнодорожной сети</c:v>
                </c:pt>
              </c:strCache>
            </c:strRef>
          </c:tx>
          <c:spPr>
            <a:solidFill>
              <a:srgbClr val="FFC000">
                <a:alpha val="94118"/>
              </a:srgbClr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8</c:v>
                </c:pt>
                <c:pt idx="1">
                  <c:v>2019</c:v>
                </c:pt>
                <c:pt idx="2">
                  <c:v>  2020 (оценка)</c:v>
                </c:pt>
                <c:pt idx="3">
                  <c:v> 2021 (план)</c:v>
                </c:pt>
              </c:strCache>
            </c:strRef>
          </c:cat>
          <c:val>
            <c:numRef>
              <c:f>Лист1!$B$7:$E$7</c:f>
              <c:numCache>
                <c:formatCode>General</c:formatCode>
                <c:ptCount val="4"/>
                <c:pt idx="0">
                  <c:v>0.1</c:v>
                </c:pt>
                <c:pt idx="1">
                  <c:v>0.60000000000000064</c:v>
                </c:pt>
                <c:pt idx="2">
                  <c:v>0.1</c:v>
                </c:pt>
                <c:pt idx="3">
                  <c:v>0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shape val="cylinder"/>
        <c:axId val="40687104"/>
        <c:axId val="40688640"/>
        <c:axId val="0"/>
      </c:bar3DChart>
      <c:catAx>
        <c:axId val="4068710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40688640"/>
        <c:crosses val="autoZero"/>
        <c:auto val="1"/>
        <c:lblAlgn val="ctr"/>
        <c:lblOffset val="100"/>
        <c:noMultiLvlLbl val="0"/>
      </c:catAx>
      <c:valAx>
        <c:axId val="4068864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0687104"/>
        <c:crosses val="autoZero"/>
        <c:crossBetween val="between"/>
      </c:valAx>
    </c:plotArea>
    <c:plotVisOnly val="0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2"/>
    </mc:Choice>
    <mc:Fallback>
      <c:style val="3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693806416992171E-2"/>
          <c:y val="0.15254421328897891"/>
          <c:w val="0.89703989703989806"/>
          <c:h val="0.64944927246695394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marker>
            <c:symbol val="circle"/>
            <c:size val="16"/>
          </c:marker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28.69999999999999</c:v>
                </c:pt>
                <c:pt idx="1">
                  <c:v>125.8</c:v>
                </c:pt>
                <c:pt idx="2">
                  <c:v>472.2</c:v>
                </c:pt>
                <c:pt idx="3">
                  <c:v>38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3196928"/>
        <c:axId val="103211008"/>
      </c:lineChart>
      <c:catAx>
        <c:axId val="103196928"/>
        <c:scaling>
          <c:orientation val="minMax"/>
        </c:scaling>
        <c:delete val="1"/>
        <c:axPos val="b"/>
        <c:majorTickMark val="out"/>
        <c:minorTickMark val="none"/>
        <c:tickLblPos val="nextTo"/>
        <c:crossAx val="103211008"/>
        <c:crosses val="autoZero"/>
        <c:auto val="1"/>
        <c:lblAlgn val="ctr"/>
        <c:lblOffset val="100"/>
        <c:noMultiLvlLbl val="0"/>
      </c:catAx>
      <c:valAx>
        <c:axId val="10321100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319692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2"/>
    </mc:Choice>
    <mc:Fallback>
      <c:style val="3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879446808552302"/>
          <c:y val="0.11640298988063041"/>
          <c:w val="0.55034366797900269"/>
          <c:h val="0.8255155019685039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25"/>
          <c:dPt>
            <c:idx val="0"/>
            <c:bubble3D val="0"/>
            <c:explosion val="14"/>
          </c:dPt>
          <c:dPt>
            <c:idx val="1"/>
            <c:bubble3D val="0"/>
            <c:explosion val="0"/>
          </c:dPt>
          <c:dLbls>
            <c:dLbl>
              <c:idx val="0"/>
              <c:layout>
                <c:manualLayout>
                  <c:x val="-2.2372360522642444E-2"/>
                  <c:y val="-1.2540277619035764E-2"/>
                </c:manualLayout>
              </c:layout>
              <c:tx>
                <c:rich>
                  <a:bodyPr/>
                  <a:lstStyle/>
                  <a:p>
                    <a:pPr>
                      <a:defRPr b="1">
                        <a:solidFill>
                          <a:schemeClr val="bg1"/>
                        </a:solidFill>
                      </a:defRPr>
                    </a:pPr>
                    <a:r>
                      <a:rPr lang="en-US" dirty="0" smtClean="0">
                        <a:solidFill>
                          <a:schemeClr val="bg1"/>
                        </a:solidFill>
                      </a:rPr>
                      <a:t>318</a:t>
                    </a:r>
                    <a:r>
                      <a:rPr lang="ru-RU" dirty="0" smtClean="0">
                        <a:solidFill>
                          <a:schemeClr val="bg1"/>
                        </a:solidFill>
                      </a:rPr>
                      <a:t>   </a:t>
                    </a:r>
                    <a:r>
                      <a:rPr lang="ru-RU" sz="1200" b="1" i="0" u="none" strike="noStrike" baseline="0" dirty="0" smtClean="0">
                        <a:solidFill>
                          <a:schemeClr val="bg1"/>
                        </a:solidFill>
                        <a:effectLst/>
                      </a:rPr>
                      <a:t>Средства краевого бюджета </a:t>
                    </a:r>
                    <a:endParaRPr lang="en-US" sz="1200" dirty="0">
                      <a:solidFill>
                        <a:schemeClr val="bg1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Лист1!$A$2:$A$3</c:f>
              <c:strCache>
                <c:ptCount val="2"/>
                <c:pt idx="0">
                  <c:v>Краев</c:v>
                </c:pt>
                <c:pt idx="1">
                  <c:v>местный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18</c:v>
                </c:pt>
                <c:pt idx="1">
                  <c:v>63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72"/>
        <c:holeSize val="54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715047272066239E-2"/>
          <c:y val="0.21556246836771242"/>
          <c:w val="0.95752561206402298"/>
          <c:h val="0.58159479864556107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еналоговые доходы</c:v>
                </c:pt>
              </c:strCache>
            </c:strRef>
          </c:tx>
          <c:marker>
            <c:symbol val="circle"/>
            <c:size val="23"/>
          </c:marker>
          <c:dPt>
            <c:idx val="4"/>
            <c:bubble3D val="0"/>
            <c:spPr>
              <a:ln w="60325"/>
            </c:spPr>
          </c:dPt>
          <c:dLbls>
            <c:dLbl>
              <c:idx val="0"/>
              <c:layout>
                <c:manualLayout>
                  <c:x val="-5.8470781549811134E-2"/>
                  <c:y val="0.1673852064021258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8187169018257226E-2"/>
                  <c:y val="0.1687868014665037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7
</c:v>
                </c:pt>
                <c:pt idx="1">
                  <c:v>2018 
</c:v>
                </c:pt>
                <c:pt idx="2">
                  <c:v>2019 
</c:v>
                </c:pt>
                <c:pt idx="3">
                  <c:v>2020 
(оценка)</c:v>
                </c:pt>
                <c:pt idx="4">
                  <c:v>2021 
(проект)</c:v>
                </c:pt>
                <c:pt idx="5">
                  <c:v>2022 
(проект)</c:v>
                </c:pt>
                <c:pt idx="6">
                  <c:v>2023 
(проект)</c:v>
                </c:pt>
              </c:strCache>
            </c:strRef>
          </c:cat>
          <c:val>
            <c:numRef>
              <c:f>Лист1!$B$2:$B$8</c:f>
              <c:numCache>
                <c:formatCode>#,##0</c:formatCode>
                <c:ptCount val="7"/>
                <c:pt idx="0">
                  <c:v>381</c:v>
                </c:pt>
                <c:pt idx="1">
                  <c:v>236</c:v>
                </c:pt>
                <c:pt idx="2">
                  <c:v>169</c:v>
                </c:pt>
                <c:pt idx="3">
                  <c:v>124</c:v>
                </c:pt>
                <c:pt idx="4">
                  <c:v>165</c:v>
                </c:pt>
                <c:pt idx="5">
                  <c:v>163</c:v>
                </c:pt>
                <c:pt idx="6">
                  <c:v>16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903232"/>
        <c:axId val="39904768"/>
      </c:lineChart>
      <c:catAx>
        <c:axId val="399032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9904768"/>
        <c:crosses val="autoZero"/>
        <c:auto val="1"/>
        <c:lblAlgn val="ctr"/>
        <c:lblOffset val="100"/>
        <c:noMultiLvlLbl val="0"/>
      </c:catAx>
      <c:valAx>
        <c:axId val="39904768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one"/>
        <c:crossAx val="39903232"/>
        <c:crosses val="autoZero"/>
        <c:crossBetween val="between"/>
      </c:valAx>
    </c:plotArea>
    <c:plotVisOnly val="1"/>
    <c:dispBlanksAs val="gap"/>
    <c:showDLblsOverMax val="0"/>
  </c:chart>
  <c:spPr>
    <a:ln w="127000" cmpd="sng"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532281272703881E-4"/>
          <c:y val="3.3493442722263554E-3"/>
          <c:w val="0.94795879841820074"/>
          <c:h val="0.98499426658407141"/>
        </c:manualLayout>
      </c:layout>
      <c:barChart>
        <c:barDir val="col"/>
        <c:grouping val="percentStacked"/>
        <c:varyColors val="0"/>
        <c:ser>
          <c:idx val="2"/>
          <c:order val="0"/>
          <c:tx>
            <c:strRef>
              <c:f>Лист1!$A$2</c:f>
              <c:strCache>
                <c:ptCount val="1"/>
                <c:pt idx="0">
                  <c:v>Ремонт дорог </c:v>
                </c:pt>
              </c:strCache>
            </c:strRef>
          </c:tx>
          <c:spPr>
            <a:solidFill>
              <a:srgbClr val="9ED3D7">
                <a:alpha val="89804"/>
              </a:srgb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000000">
                  <a:alpha val="40000"/>
                </a:srgbClr>
              </a:solidFill>
            </c:spPr>
          </c:dPt>
          <c:cat>
            <c:strRef>
              <c:f>Лист1!$B$1</c:f>
              <c:strCache>
                <c:ptCount val="1"/>
                <c:pt idx="0">
                  <c:v> 2021 (план)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327.39999999999969</c:v>
                </c:pt>
              </c:numCache>
            </c:numRef>
          </c:val>
        </c:ser>
        <c:ser>
          <c:idx val="0"/>
          <c:order val="1"/>
          <c:tx>
            <c:strRef>
              <c:f>Лист1!$A$3</c:f>
              <c:strCache>
                <c:ptCount val="1"/>
                <c:pt idx="0">
                  <c:v>Строительство и реконструкция дорог</c:v>
                </c:pt>
              </c:strCache>
            </c:strRef>
          </c:tx>
          <c:spPr>
            <a:solidFill>
              <a:srgbClr val="FFCCCC">
                <a:alpha val="76078"/>
              </a:srgb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3366FF">
                  <a:alpha val="49020"/>
                </a:srgbClr>
              </a:solidFill>
            </c:spPr>
          </c:dPt>
          <c:cat>
            <c:strRef>
              <c:f>Лист1!$B$1</c:f>
              <c:strCache>
                <c:ptCount val="1"/>
                <c:pt idx="0">
                  <c:v> 2021 (план)</c:v>
                </c:pt>
              </c:strCache>
            </c:strRef>
          </c:cat>
          <c:val>
            <c:numRef>
              <c:f>Лист1!$B$3</c:f>
              <c:numCache>
                <c:formatCode>General</c:formatCode>
                <c:ptCount val="1"/>
                <c:pt idx="0">
                  <c:v>26.3</c:v>
                </c:pt>
              </c:numCache>
            </c:numRef>
          </c:val>
        </c:ser>
        <c:ser>
          <c:idx val="1"/>
          <c:order val="2"/>
          <c:tx>
            <c:strRef>
              <c:f>Лист1!$A$4</c:f>
              <c:strCache>
                <c:ptCount val="1"/>
                <c:pt idx="0">
                  <c:v>Наказы избирателей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strRef>
              <c:f>Лист1!$B$1</c:f>
              <c:strCache>
                <c:ptCount val="1"/>
                <c:pt idx="0">
                  <c:v> 2021 (план)</c:v>
                </c:pt>
              </c:strCache>
            </c:strRef>
          </c:cat>
          <c:val>
            <c:numRef>
              <c:f>Лист1!$B$4</c:f>
              <c:numCache>
                <c:formatCode>General</c:formatCode>
                <c:ptCount val="1"/>
                <c:pt idx="0">
                  <c:v>16.5</c:v>
                </c:pt>
              </c:numCache>
            </c:numRef>
          </c:val>
        </c:ser>
        <c:ser>
          <c:idx val="3"/>
          <c:order val="3"/>
          <c:tx>
            <c:strRef>
              <c:f>Лист1!$A$5</c:f>
              <c:strCache>
                <c:ptCount val="1"/>
                <c:pt idx="0">
                  <c:v>Разметка,  знаки, ограждения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595959">
                  <a:alpha val="72157"/>
                </a:srgbClr>
              </a:solidFill>
            </c:spPr>
          </c:dPt>
          <c:cat>
            <c:strRef>
              <c:f>Лист1!$B$1</c:f>
              <c:strCache>
                <c:ptCount val="1"/>
                <c:pt idx="0">
                  <c:v> 2021 (план)</c:v>
                </c:pt>
              </c:strCache>
            </c:strRef>
          </c:cat>
          <c:val>
            <c:numRef>
              <c:f>Лист1!$B$5</c:f>
              <c:numCache>
                <c:formatCode>General</c:formatCode>
                <c:ptCount val="1"/>
                <c:pt idx="0">
                  <c:v>7.23</c:v>
                </c:pt>
              </c:numCache>
            </c:numRef>
          </c:val>
        </c:ser>
        <c:ser>
          <c:idx val="4"/>
          <c:order val="4"/>
          <c:tx>
            <c:strRef>
              <c:f>Лист1!$A$6</c:f>
              <c:strCache>
                <c:ptCount val="1"/>
                <c:pt idx="0">
                  <c:v>Ливневки</c:v>
                </c:pt>
              </c:strCache>
            </c:strRef>
          </c:tx>
          <c:spPr>
            <a:solidFill>
              <a:schemeClr val="accent1">
                <a:lumMod val="90000"/>
              </a:schemeClr>
            </a:solidFill>
          </c:spPr>
          <c:invertIfNegative val="0"/>
          <c:cat>
            <c:strRef>
              <c:f>Лист1!$B$1</c:f>
              <c:strCache>
                <c:ptCount val="1"/>
                <c:pt idx="0">
                  <c:v> 2021 (план)</c:v>
                </c:pt>
              </c:strCache>
            </c:strRef>
          </c:cat>
          <c:val>
            <c:numRef>
              <c:f>Лист1!$B$6</c:f>
              <c:numCache>
                <c:formatCode>General</c:formatCode>
                <c:ptCount val="1"/>
                <c:pt idx="0">
                  <c:v>3.6</c:v>
                </c:pt>
              </c:numCache>
            </c:numRef>
          </c:val>
        </c:ser>
        <c:ser>
          <c:idx val="5"/>
          <c:order val="5"/>
          <c:tx>
            <c:strRef>
              <c:f>Лист1!$A$7</c:f>
              <c:strCache>
                <c:ptCount val="1"/>
                <c:pt idx="0">
                  <c:v>Диагностика обследование паспортизация уличнодорожной сети</c:v>
                </c:pt>
              </c:strCache>
            </c:strRef>
          </c:tx>
          <c:invertIfNegative val="0"/>
          <c:cat>
            <c:strRef>
              <c:f>Лист1!$B$1</c:f>
              <c:strCache>
                <c:ptCount val="1"/>
                <c:pt idx="0">
                  <c:v> 2021 (план)</c:v>
                </c:pt>
              </c:strCache>
            </c:strRef>
          </c:cat>
          <c:val>
            <c:numRef>
              <c:f>Лист1!$B$7</c:f>
              <c:numCache>
                <c:formatCode>General</c:formatCode>
                <c:ptCount val="1"/>
                <c:pt idx="0">
                  <c:v>0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103807616"/>
        <c:axId val="105263488"/>
      </c:barChart>
      <c:catAx>
        <c:axId val="103807616"/>
        <c:scaling>
          <c:orientation val="minMax"/>
        </c:scaling>
        <c:delete val="1"/>
        <c:axPos val="b"/>
        <c:majorTickMark val="out"/>
        <c:minorTickMark val="none"/>
        <c:tickLblPos val="nextTo"/>
        <c:crossAx val="105263488"/>
        <c:crosses val="autoZero"/>
        <c:auto val="1"/>
        <c:lblAlgn val="ctr"/>
        <c:lblOffset val="100"/>
        <c:noMultiLvlLbl val="0"/>
      </c:catAx>
      <c:valAx>
        <c:axId val="10526348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03807616"/>
        <c:crosses val="autoZero"/>
        <c:crossBetween val="between"/>
      </c:valAx>
    </c:plotArea>
    <c:plotVisOnly val="0"/>
    <c:dispBlanksAs val="zero"/>
    <c:showDLblsOverMax val="0"/>
  </c:chart>
  <c:spPr>
    <a:scene3d>
      <a:camera prst="orthographicFront"/>
      <a:lightRig rig="threePt" dir="t"/>
    </a:scene3d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20905992020021638"/>
          <c:y val="0.12744096787591341"/>
          <c:w val="0.79094007275597722"/>
          <c:h val="0.7962594162909139"/>
        </c:manualLayout>
      </c:layout>
      <c:bar3DChart>
        <c:barDir val="col"/>
        <c:grouping val="stacked"/>
        <c:varyColors val="0"/>
        <c:ser>
          <c:idx val="2"/>
          <c:order val="0"/>
          <c:tx>
            <c:strRef>
              <c:f>Лист1!$A$2</c:f>
              <c:strCache>
                <c:ptCount val="1"/>
                <c:pt idx="0">
                  <c:v>уличное освещение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F$1</c:f>
              <c:strCache>
                <c:ptCount val="5"/>
                <c:pt idx="0">
                  <c:v>2017 (отчет)</c:v>
                </c:pt>
                <c:pt idx="1">
                  <c:v>2018 (отчет)</c:v>
                </c:pt>
                <c:pt idx="2">
                  <c:v>2019 (отчет)</c:v>
                </c:pt>
                <c:pt idx="3">
                  <c:v>2020 (оценка)</c:v>
                </c:pt>
                <c:pt idx="4">
                  <c:v>2021 (план)</c:v>
                </c:pt>
              </c:strCache>
            </c:strRef>
          </c:cat>
          <c:val>
            <c:numRef>
              <c:f>Лист1!$B$2:$F$2</c:f>
              <c:numCache>
                <c:formatCode>#,##0.0</c:formatCode>
                <c:ptCount val="5"/>
                <c:pt idx="0">
                  <c:v>74.7</c:v>
                </c:pt>
                <c:pt idx="1">
                  <c:v>76.92</c:v>
                </c:pt>
                <c:pt idx="2">
                  <c:v>75.22</c:v>
                </c:pt>
                <c:pt idx="3">
                  <c:v>82.05</c:v>
                </c:pt>
                <c:pt idx="4">
                  <c:v>89.169999999999987</c:v>
                </c:pt>
              </c:numCache>
            </c:numRef>
          </c:val>
        </c:ser>
        <c:ser>
          <c:idx val="0"/>
          <c:order val="1"/>
          <c:tx>
            <c:strRef>
              <c:f>Лист1!$A$3</c:f>
              <c:strCache>
                <c:ptCount val="1"/>
                <c:pt idx="0">
                  <c:v>сан. очистка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F$1</c:f>
              <c:strCache>
                <c:ptCount val="5"/>
                <c:pt idx="0">
                  <c:v>2017 (отчет)</c:v>
                </c:pt>
                <c:pt idx="1">
                  <c:v>2018 (отчет)</c:v>
                </c:pt>
                <c:pt idx="2">
                  <c:v>2019 (отчет)</c:v>
                </c:pt>
                <c:pt idx="3">
                  <c:v>2020 (оценка)</c:v>
                </c:pt>
                <c:pt idx="4">
                  <c:v>2021 (план)</c:v>
                </c:pt>
              </c:strCache>
            </c:strRef>
          </c:cat>
          <c:val>
            <c:numRef>
              <c:f>Лист1!$B$3:$F$3</c:f>
              <c:numCache>
                <c:formatCode>#,##0.0</c:formatCode>
                <c:ptCount val="5"/>
                <c:pt idx="0">
                  <c:v>133.12</c:v>
                </c:pt>
                <c:pt idx="1">
                  <c:v>127.79</c:v>
                </c:pt>
                <c:pt idx="2">
                  <c:v>134.70999999999998</c:v>
                </c:pt>
                <c:pt idx="3">
                  <c:v>132.23999999999998</c:v>
                </c:pt>
                <c:pt idx="4">
                  <c:v>123.67999999999998</c:v>
                </c:pt>
              </c:numCache>
            </c:numRef>
          </c:val>
        </c:ser>
        <c:ser>
          <c:idx val="1"/>
          <c:order val="2"/>
          <c:tx>
            <c:strRef>
              <c:f>Лист1!$A$4</c:f>
              <c:strCache>
                <c:ptCount val="1"/>
                <c:pt idx="0">
                  <c:v>озеленение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F$1</c:f>
              <c:strCache>
                <c:ptCount val="5"/>
                <c:pt idx="0">
                  <c:v>2017 (отчет)</c:v>
                </c:pt>
                <c:pt idx="1">
                  <c:v>2018 (отчет)</c:v>
                </c:pt>
                <c:pt idx="2">
                  <c:v>2019 (отчет)</c:v>
                </c:pt>
                <c:pt idx="3">
                  <c:v>2020 (оценка)</c:v>
                </c:pt>
                <c:pt idx="4">
                  <c:v>2021 (план)</c:v>
                </c:pt>
              </c:strCache>
            </c:strRef>
          </c:cat>
          <c:val>
            <c:numRef>
              <c:f>Лист1!$B$4:$F$4</c:f>
              <c:numCache>
                <c:formatCode>#,##0.0</c:formatCode>
                <c:ptCount val="5"/>
                <c:pt idx="0">
                  <c:v>63.82</c:v>
                </c:pt>
                <c:pt idx="1">
                  <c:v>67.55</c:v>
                </c:pt>
                <c:pt idx="2">
                  <c:v>73.92</c:v>
                </c:pt>
                <c:pt idx="3">
                  <c:v>78.099999999999994</c:v>
                </c:pt>
                <c:pt idx="4">
                  <c:v>63.48</c:v>
                </c:pt>
              </c:numCache>
            </c:numRef>
          </c:val>
        </c:ser>
        <c:ser>
          <c:idx val="3"/>
          <c:order val="3"/>
          <c:tx>
            <c:strRef>
              <c:f>Лист1!$A$5</c:f>
              <c:strCache>
                <c:ptCount val="1"/>
                <c:pt idx="0">
                  <c:v>содержание мест захоронений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1.306439336620966E-2"/>
                  <c:y val="6.76819131278664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0451514692967751E-2"/>
                  <c:y val="3.384095656393320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  <a:effectLst>
                      <a:glow rad="101600">
                        <a:schemeClr val="bg1">
                          <a:alpha val="60000"/>
                        </a:schemeClr>
                      </a:glow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F$1</c:f>
              <c:strCache>
                <c:ptCount val="5"/>
                <c:pt idx="0">
                  <c:v>2017 (отчет)</c:v>
                </c:pt>
                <c:pt idx="1">
                  <c:v>2018 (отчет)</c:v>
                </c:pt>
                <c:pt idx="2">
                  <c:v>2019 (отчет)</c:v>
                </c:pt>
                <c:pt idx="3">
                  <c:v>2020 (оценка)</c:v>
                </c:pt>
                <c:pt idx="4">
                  <c:v>2021 (план)</c:v>
                </c:pt>
              </c:strCache>
            </c:strRef>
          </c:cat>
          <c:val>
            <c:numRef>
              <c:f>Лист1!$B$5:$F$5</c:f>
              <c:numCache>
                <c:formatCode>#,##0.0</c:formatCode>
                <c:ptCount val="5"/>
                <c:pt idx="0">
                  <c:v>5.2</c:v>
                </c:pt>
                <c:pt idx="1">
                  <c:v>5.26</c:v>
                </c:pt>
                <c:pt idx="2">
                  <c:v>4.72</c:v>
                </c:pt>
                <c:pt idx="3">
                  <c:v>2.8</c:v>
                </c:pt>
                <c:pt idx="4">
                  <c:v>2.2999999999999998</c:v>
                </c:pt>
              </c:numCache>
            </c:numRef>
          </c:val>
        </c:ser>
        <c:ser>
          <c:idx val="4"/>
          <c:order val="4"/>
          <c:tx>
            <c:strRef>
              <c:f>Лист1!$A$6</c:f>
              <c:strCache>
                <c:ptCount val="1"/>
                <c:pt idx="0">
                  <c:v>прочее благоустройство</c:v>
                </c:pt>
              </c:strCache>
            </c:strRef>
          </c:tx>
          <c:spPr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</c:spPr>
          </c:dPt>
          <c:dLbls>
            <c:dLbl>
              <c:idx val="0"/>
              <c:layout>
                <c:manualLayout>
                  <c:x val="1.4167012568594243E-2"/>
                  <c:y val="-6.837606837606839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24195061062666E-2"/>
                  <c:y val="-1.69900254446688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6686316405822851E-2"/>
                  <c:y val="-2.28580793814532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2.2667220109751002E-2"/>
                  <c:y val="-1.36752136752136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2.8334025137188527E-2"/>
                  <c:y val="-9.116809116809126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F$1</c:f>
              <c:strCache>
                <c:ptCount val="5"/>
                <c:pt idx="0">
                  <c:v>2017 (отчет)</c:v>
                </c:pt>
                <c:pt idx="1">
                  <c:v>2018 (отчет)</c:v>
                </c:pt>
                <c:pt idx="2">
                  <c:v>2019 (отчет)</c:v>
                </c:pt>
                <c:pt idx="3">
                  <c:v>2020 (оценка)</c:v>
                </c:pt>
                <c:pt idx="4">
                  <c:v>2021 (план)</c:v>
                </c:pt>
              </c:strCache>
            </c:strRef>
          </c:cat>
          <c:val>
            <c:numRef>
              <c:f>Лист1!$B$6:$F$6</c:f>
              <c:numCache>
                <c:formatCode>#,##0.0</c:formatCode>
                <c:ptCount val="5"/>
                <c:pt idx="0">
                  <c:v>24.459999999999987</c:v>
                </c:pt>
                <c:pt idx="1">
                  <c:v>11.09</c:v>
                </c:pt>
                <c:pt idx="2">
                  <c:v>17.79</c:v>
                </c:pt>
                <c:pt idx="3">
                  <c:v>18.350000000000001</c:v>
                </c:pt>
                <c:pt idx="4">
                  <c:v>12.6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gapDepth val="95"/>
        <c:shape val="box"/>
        <c:axId val="103976960"/>
        <c:axId val="103978496"/>
        <c:axId val="0"/>
      </c:bar3DChart>
      <c:catAx>
        <c:axId val="103976960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600" b="0"/>
            </a:pPr>
            <a:endParaRPr lang="ru-RU"/>
          </a:p>
        </c:txPr>
        <c:crossAx val="103978496"/>
        <c:crosses val="autoZero"/>
        <c:auto val="1"/>
        <c:lblAlgn val="ctr"/>
        <c:lblOffset val="100"/>
        <c:noMultiLvlLbl val="0"/>
      </c:catAx>
      <c:valAx>
        <c:axId val="103978496"/>
        <c:scaling>
          <c:orientation val="minMax"/>
        </c:scaling>
        <c:delete val="1"/>
        <c:axPos val="l"/>
        <c:numFmt formatCode="#,##0.0" sourceLinked="1"/>
        <c:majorTickMark val="none"/>
        <c:minorTickMark val="none"/>
        <c:tickLblPos val="none"/>
        <c:crossAx val="103976960"/>
        <c:crosses val="autoZero"/>
        <c:crossBetween val="between"/>
      </c:valAx>
    </c:plotArea>
    <c:plotVisOnly val="0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0"/>
    </mc:Choice>
    <mc:Fallback>
      <c:style val="3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38987869141713"/>
          <c:y val="3.9233516937954606E-2"/>
          <c:w val="0.69582089109393563"/>
          <c:h val="0.9607664830620453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cene3d>
              <a:camera prst="orthographicFront"/>
              <a:lightRig rig="balanced" dir="t">
                <a:rot lat="0" lon="0" rev="8700000"/>
              </a:lightRig>
            </a:scene3d>
            <a:sp3d>
              <a:bevelT w="190500" h="38100"/>
            </a:sp3d>
          </c:spPr>
          <c:explosion val="14"/>
          <c:dPt>
            <c:idx val="0"/>
            <c:bubble3D val="0"/>
            <c:spPr>
              <a:solidFill>
                <a:schemeClr val="accent3">
                  <a:lumMod val="75000"/>
                </a:schemeClr>
              </a:solidFill>
              <a:scene3d>
                <a:camera prst="orthographicFront"/>
                <a:lightRig rig="balanced" dir="t">
                  <a:rot lat="0" lon="0" rev="8700000"/>
                </a:lightRig>
              </a:scene3d>
              <a:sp3d>
                <a:bevelT w="190500" h="38100"/>
              </a:sp3d>
            </c:spPr>
          </c:dPt>
          <c:dPt>
            <c:idx val="1"/>
            <c:bubble3D val="0"/>
            <c:spPr>
              <a:solidFill>
                <a:schemeClr val="accent5">
                  <a:lumMod val="50000"/>
                </a:schemeClr>
              </a:solidFill>
              <a:scene3d>
                <a:camera prst="orthographicFront"/>
                <a:lightRig rig="balanced" dir="t">
                  <a:rot lat="0" lon="0" rev="8700000"/>
                </a:lightRig>
              </a:scene3d>
              <a:sp3d>
                <a:bevelT w="190500" h="38100"/>
              </a:sp3d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0</c:v>
                </c:pt>
                <c:pt idx="1">
                  <c:v>2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spPr>
    <a:effectLst>
      <a:innerShdw blurRad="63500" dist="50800" dir="8100000">
        <a:prstClr val="black">
          <a:alpha val="50000"/>
        </a:prstClr>
      </a:innerShdw>
    </a:effectLst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rAngAx val="0"/>
      <c:perspective val="30"/>
    </c:view3D>
    <c:floor>
      <c:thickness val="0"/>
    </c:floor>
    <c:sideWall>
      <c:thickness val="0"/>
      <c:spPr>
        <a:ln w="25400">
          <a:noFill/>
        </a:ln>
      </c:spPr>
    </c:sideWall>
    <c:backWall>
      <c:thickness val="0"/>
      <c:spPr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0"/>
          <c:y val="0.12111606500551809"/>
          <c:w val="0.98846782687195811"/>
          <c:h val="0.62626276487187049"/>
        </c:manualLayout>
      </c:layout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Удельный вес муниципальнгого долга в налоговых и неналоговых доходах (без доп. Норм. По НДФЛ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 w="82550">
              <a:solidFill>
                <a:srgbClr val="FF9933"/>
              </a:solidFill>
            </a:ln>
          </c:spPr>
          <c:invertIfNegative val="0"/>
          <c:dLbls>
            <c:dLbl>
              <c:idx val="0"/>
              <c:layout>
                <c:manualLayout>
                  <c:x val="1.724743801929219E-2"/>
                  <c:y val="-5.7447848964713687E-2"/>
                </c:manualLayout>
              </c:layout>
              <c:tx>
                <c:rich>
                  <a:bodyPr/>
                  <a:lstStyle/>
                  <a:p>
                    <a:r>
                      <a:rPr lang="ru-RU" sz="1400" baseline="0" dirty="0" smtClean="0"/>
                      <a:t>59,7%</a:t>
                    </a:r>
                    <a:endParaRPr lang="en-US" sz="160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layout>
                <c:manualLayout>
                  <c:x val="-0.14879114632963883"/>
                  <c:y val="0.13327653126483988"/>
                </c:manualLayout>
              </c:layout>
              <c:tx>
                <c:rich>
                  <a:bodyPr/>
                  <a:lstStyle/>
                  <a:p>
                    <a:pPr algn="ctr" rtl="0">
                      <a:defRPr lang="en-US" sz="14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sz="1400" baseline="0" dirty="0" smtClean="0"/>
                      <a:t>57,6</a:t>
                    </a:r>
                    <a:r>
                      <a:rPr lang="en-US" sz="1400" baseline="0" dirty="0" smtClean="0"/>
                      <a:t>%</a:t>
                    </a:r>
                    <a:endParaRPr lang="en-US" sz="16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0.14422639049099775"/>
                  <c:y val="-6.0895060881338635E-2"/>
                </c:manualLayout>
              </c:layout>
              <c:tx>
                <c:rich>
                  <a:bodyPr/>
                  <a:lstStyle/>
                  <a:p>
                    <a:pPr algn="ctr" rtl="0">
                      <a:defRPr lang="en-US" sz="14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sz="1400" baseline="0" dirty="0" smtClean="0"/>
                      <a:t>74</a:t>
                    </a:r>
                    <a:r>
                      <a:rPr lang="en-US" sz="1400" baseline="0" dirty="0" smtClean="0"/>
                      <a:t>,</a:t>
                    </a:r>
                    <a:r>
                      <a:rPr lang="ru-RU" sz="1400" baseline="0" dirty="0" smtClean="0"/>
                      <a:t>3</a:t>
                    </a:r>
                    <a:r>
                      <a:rPr lang="en-US" sz="1400" baseline="0" dirty="0" smtClean="0"/>
                      <a:t>%</a:t>
                    </a:r>
                    <a:endParaRPr lang="en-US" sz="1600" baseline="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0.15177926007656697"/>
                  <c:y val="3.3703253685689147E-2"/>
                </c:manualLayout>
              </c:layout>
              <c:tx>
                <c:rich>
                  <a:bodyPr/>
                  <a:lstStyle/>
                  <a:p>
                    <a:r>
                      <a:rPr lang="ru-RU" sz="1400" baseline="0" dirty="0" smtClean="0"/>
                      <a:t>73</a:t>
                    </a:r>
                    <a:r>
                      <a:rPr lang="en-US" sz="1400" baseline="0" dirty="0" smtClean="0"/>
                      <a:t>,</a:t>
                    </a:r>
                    <a:r>
                      <a:rPr lang="ru-RU" sz="1400" baseline="0" dirty="0" smtClean="0"/>
                      <a:t>1</a:t>
                    </a:r>
                    <a:r>
                      <a:rPr lang="en-US" sz="1400" baseline="0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0.15162779811759211"/>
                  <c:y val="-7.5157536337106604E-2"/>
                </c:manualLayout>
              </c:layout>
              <c:tx>
                <c:rich>
                  <a:bodyPr/>
                  <a:lstStyle/>
                  <a:p>
                    <a:r>
                      <a:rPr lang="ru-RU" sz="1400" baseline="0" dirty="0" smtClean="0"/>
                      <a:t>78</a:t>
                    </a:r>
                    <a:r>
                      <a:rPr lang="en-US" sz="1400" baseline="0" dirty="0" smtClean="0"/>
                      <a:t>,9</a:t>
                    </a:r>
                    <a:r>
                      <a:rPr lang="en-US" sz="1400" baseline="0" dirty="0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 baseline="0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7</c:f>
              <c:strCache>
                <c:ptCount val="6"/>
                <c:pt idx="0">
                  <c:v>2018</c:v>
                </c:pt>
                <c:pt idx="1">
                  <c:v>2019</c:v>
                </c:pt>
                <c:pt idx="2">
                  <c:v>прогноз 2020</c:v>
                </c:pt>
                <c:pt idx="3">
                  <c:v>проект 2021</c:v>
                </c:pt>
                <c:pt idx="4">
                  <c:v>проект 2022</c:v>
                </c:pt>
                <c:pt idx="5">
                  <c:v>проект 2023</c:v>
                </c:pt>
              </c:strCache>
            </c:strRef>
          </c:cat>
          <c:val>
            <c:numRef>
              <c:f>Лист1!$B$2:$B$7</c:f>
              <c:numCache>
                <c:formatCode>0.00%</c:formatCode>
                <c:ptCount val="6"/>
                <c:pt idx="0">
                  <c:v>0.59649999999999959</c:v>
                </c:pt>
                <c:pt idx="1">
                  <c:v>0.57630000000000003</c:v>
                </c:pt>
                <c:pt idx="2">
                  <c:v>0.74270000000000092</c:v>
                </c:pt>
                <c:pt idx="3">
                  <c:v>0.73140000000000005</c:v>
                </c:pt>
                <c:pt idx="4">
                  <c:v>0.78870000000000062</c:v>
                </c:pt>
                <c:pt idx="5">
                  <c:v>0.7729000000000009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invertIfNegative val="0"/>
          <c:cat>
            <c:strRef>
              <c:f>Лист1!$A$2:$A$7</c:f>
              <c:strCache>
                <c:ptCount val="6"/>
                <c:pt idx="0">
                  <c:v>2018</c:v>
                </c:pt>
                <c:pt idx="1">
                  <c:v>2019</c:v>
                </c:pt>
                <c:pt idx="2">
                  <c:v>прогноз 2020</c:v>
                </c:pt>
                <c:pt idx="3">
                  <c:v>проект 2021</c:v>
                </c:pt>
                <c:pt idx="4">
                  <c:v>проект 2022</c:v>
                </c:pt>
                <c:pt idx="5">
                  <c:v>проект 2023</c:v>
                </c:pt>
              </c:strCache>
            </c:strRef>
          </c:cat>
          <c:val>
            <c:numRef>
              <c:f>Лист1!$C$2:$C$7</c:f>
            </c:numRef>
          </c:val>
          <c:shape val="box"/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invertIfNegative val="0"/>
          <c:cat>
            <c:strRef>
              <c:f>Лист1!$A$2:$A$7</c:f>
              <c:strCache>
                <c:ptCount val="6"/>
                <c:pt idx="0">
                  <c:v>2018</c:v>
                </c:pt>
                <c:pt idx="1">
                  <c:v>2019</c:v>
                </c:pt>
                <c:pt idx="2">
                  <c:v>прогноз 2020</c:v>
                </c:pt>
                <c:pt idx="3">
                  <c:v>проект 2021</c:v>
                </c:pt>
                <c:pt idx="4">
                  <c:v>проект 2022</c:v>
                </c:pt>
                <c:pt idx="5">
                  <c:v>проект 2023</c:v>
                </c:pt>
              </c:strCache>
            </c:strRef>
          </c:cat>
          <c:val>
            <c:numRef>
              <c:f>Лист1!$D$2:$D$7</c:f>
            </c:numRef>
          </c:val>
          <c:shape val="box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105367424"/>
        <c:axId val="105368960"/>
        <c:axId val="105437824"/>
      </c:bar3DChart>
      <c:catAx>
        <c:axId val="1053674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0" baseline="0">
                <a:solidFill>
                  <a:srgbClr val="002060"/>
                </a:solidFill>
              </a:defRPr>
            </a:pPr>
            <a:endParaRPr lang="ru-RU"/>
          </a:p>
        </c:txPr>
        <c:crossAx val="105368960"/>
        <c:crosses val="autoZero"/>
        <c:auto val="1"/>
        <c:lblAlgn val="ctr"/>
        <c:lblOffset val="100"/>
        <c:noMultiLvlLbl val="0"/>
      </c:catAx>
      <c:valAx>
        <c:axId val="105368960"/>
        <c:scaling>
          <c:orientation val="minMax"/>
          <c:max val="0.8"/>
          <c:min val="0.5"/>
        </c:scaling>
        <c:delete val="1"/>
        <c:axPos val="l"/>
        <c:numFmt formatCode="0.00%" sourceLinked="1"/>
        <c:majorTickMark val="out"/>
        <c:minorTickMark val="none"/>
        <c:tickLblPos val="nextTo"/>
        <c:crossAx val="105367424"/>
        <c:crosses val="autoZero"/>
        <c:crossBetween val="between"/>
      </c:valAx>
      <c:serAx>
        <c:axId val="105437824"/>
        <c:scaling>
          <c:orientation val="minMax"/>
        </c:scaling>
        <c:delete val="1"/>
        <c:axPos val="b"/>
        <c:majorTickMark val="out"/>
        <c:minorTickMark val="none"/>
        <c:tickLblPos val="nextTo"/>
        <c:crossAx val="105368960"/>
        <c:crosses val="autoZero"/>
      </c:ser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278707521939042E-3"/>
          <c:y val="2.1122415877790558E-2"/>
          <c:w val="0.5594134452898335"/>
          <c:h val="0.86786786786786752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855808"/>
        <c:axId val="106890368"/>
      </c:lineChart>
      <c:catAx>
        <c:axId val="106855808"/>
        <c:scaling>
          <c:orientation val="minMax"/>
        </c:scaling>
        <c:delete val="1"/>
        <c:axPos val="b"/>
        <c:majorTickMark val="out"/>
        <c:minorTickMark val="none"/>
        <c:tickLblPos val="nextTo"/>
        <c:crossAx val="106890368"/>
        <c:crosses val="autoZero"/>
        <c:auto val="1"/>
        <c:lblAlgn val="ctr"/>
        <c:lblOffset val="100"/>
        <c:noMultiLvlLbl val="0"/>
      </c:catAx>
      <c:valAx>
        <c:axId val="106890368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10685580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730723932981084E-2"/>
          <c:y val="0.34187513139455389"/>
          <c:w val="0.93944330857044867"/>
          <c:h val="0.22566578648566071"/>
        </c:manualLayout>
      </c:layou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63500">
              <a:solidFill>
                <a:schemeClr val="accent2">
                  <a:lumMod val="50000"/>
                </a:schemeClr>
              </a:solidFill>
            </a:ln>
          </c:spPr>
          <c:marker>
            <c:symbol val="diamond"/>
            <c:size val="14"/>
            <c:spPr>
              <a:solidFill>
                <a:schemeClr val="accent2">
                  <a:lumMod val="50000"/>
                </a:schemeClr>
              </a:solidFill>
              <a:ln w="15875">
                <a:solidFill>
                  <a:schemeClr val="accent2">
                    <a:lumMod val="50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3.1828029560020642E-2"/>
                  <c:y val="-9.7364203993331955E-2"/>
                </c:manualLayout>
              </c:layout>
              <c:tx>
                <c:rich>
                  <a:bodyPr/>
                  <a:lstStyle/>
                  <a:p>
                    <a:r>
                      <a:rPr lang="en-US" sz="1400" b="1" i="0" baseline="0" dirty="0" smtClean="0"/>
                      <a:t>8</a:t>
                    </a:r>
                    <a:r>
                      <a:rPr lang="ru-RU" sz="1400" b="1" i="0" baseline="0" dirty="0" smtClean="0"/>
                      <a:t>2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6053837978147825E-2"/>
                  <c:y val="-0.1058521104104864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5.0578621492886583E-2"/>
                  <c:y val="-0.111279939853663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9550055361731474E-2"/>
                  <c:y val="-0.12643722050540676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</a:t>
                    </a:r>
                    <a:r>
                      <a:rPr lang="en-US" dirty="0" smtClean="0"/>
                      <a:t>13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6.2112812970334177E-2"/>
                  <c:y val="-9.7396140535422934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</a:t>
                    </a:r>
                    <a:r>
                      <a:rPr lang="en-US" dirty="0" smtClean="0"/>
                      <a:t>26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5.0315522698309897E-2"/>
                  <c:y val="-0.15160923490295791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 </a:t>
                    </a:r>
                    <a:r>
                      <a:rPr lang="en-US" dirty="0" smtClean="0"/>
                      <a:t>33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 i="0" baseline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7</c:f>
              <c:strCache>
                <c:ptCount val="6"/>
                <c:pt idx="0">
                  <c:v>на 01.01.2018 г.</c:v>
                </c:pt>
                <c:pt idx="1">
                  <c:v>на 01.01.2019 г.</c:v>
                </c:pt>
                <c:pt idx="2">
                  <c:v>на 01.01.2020 г.</c:v>
                </c:pt>
                <c:pt idx="3">
                  <c:v>на 01.01.2021 г.</c:v>
                </c:pt>
                <c:pt idx="4">
                  <c:v>на 01.01.2022 г.</c:v>
                </c:pt>
                <c:pt idx="5">
                  <c:v>на 01.01.2023 г.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820</c:v>
                </c:pt>
                <c:pt idx="1">
                  <c:v>870</c:v>
                </c:pt>
                <c:pt idx="2">
                  <c:v>995</c:v>
                </c:pt>
                <c:pt idx="3" formatCode="#,##0.0">
                  <c:v>1132</c:v>
                </c:pt>
                <c:pt idx="4" formatCode="#,##0.0">
                  <c:v>1266</c:v>
                </c:pt>
                <c:pt idx="5" formatCode="#,##0.0">
                  <c:v>133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930944"/>
        <c:axId val="106932480"/>
      </c:lineChart>
      <c:catAx>
        <c:axId val="10693094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 b="0" i="0" baseline="0"/>
            </a:pPr>
            <a:endParaRPr lang="ru-RU"/>
          </a:p>
        </c:txPr>
        <c:crossAx val="106932480"/>
        <c:crosses val="autoZero"/>
        <c:auto val="1"/>
        <c:lblAlgn val="ctr"/>
        <c:lblOffset val="100"/>
        <c:noMultiLvlLbl val="0"/>
      </c:catAx>
      <c:valAx>
        <c:axId val="10693248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6930944"/>
        <c:crosses val="autoZero"/>
        <c:crossBetween val="between"/>
      </c:valAx>
      <c:spPr>
        <a:ln w="41275"/>
      </c:spPr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278707521939042E-3"/>
          <c:y val="2.1122415877790558E-2"/>
          <c:w val="0.5594134452898335"/>
          <c:h val="0.86786786786786752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973824"/>
        <c:axId val="106983808"/>
      </c:lineChart>
      <c:catAx>
        <c:axId val="106973824"/>
        <c:scaling>
          <c:orientation val="minMax"/>
        </c:scaling>
        <c:delete val="1"/>
        <c:axPos val="b"/>
        <c:majorTickMark val="out"/>
        <c:minorTickMark val="none"/>
        <c:tickLblPos val="nextTo"/>
        <c:crossAx val="106983808"/>
        <c:crosses val="autoZero"/>
        <c:auto val="1"/>
        <c:lblAlgn val="ctr"/>
        <c:lblOffset val="100"/>
        <c:noMultiLvlLbl val="0"/>
      </c:catAx>
      <c:valAx>
        <c:axId val="106983808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10697382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730723932981084E-2"/>
          <c:y val="0.34187513139455389"/>
          <c:w val="0.93944330857044867"/>
          <c:h val="0.22566578648566071"/>
        </c:manualLayout>
      </c:layou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82550">
              <a:solidFill>
                <a:schemeClr val="accent2">
                  <a:lumMod val="50000"/>
                </a:schemeClr>
              </a:solidFill>
            </a:ln>
          </c:spPr>
          <c:marker>
            <c:symbol val="diamond"/>
            <c:size val="20"/>
            <c:spPr>
              <a:solidFill>
                <a:schemeClr val="accent2">
                  <a:lumMod val="50000"/>
                </a:schemeClr>
              </a:solidFill>
              <a:ln>
                <a:solidFill>
                  <a:schemeClr val="accent2">
                    <a:lumMod val="50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3.1828029560020642E-2"/>
                  <c:y val="-9.7364203993331955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i="0" baseline="0" dirty="0" smtClean="0"/>
                      <a:t>52,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6053837978147825E-2"/>
                  <c:y val="-0.10585211041048646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7,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5.0578621492886583E-2"/>
                  <c:y val="-0.11127993985366318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0,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9550055361731474E-2"/>
                  <c:y val="-0.12643722050540676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90,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6.2112812970334177E-2"/>
                  <c:y val="-9.739614053542293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90,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5.0315522698309897E-2"/>
                  <c:y val="-0.15160923490295791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90,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 i="0" baseline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7</c:f>
              <c:strCache>
                <c:ptCount val="6"/>
                <c:pt idx="0">
                  <c:v>2018 год факт</c:v>
                </c:pt>
                <c:pt idx="1">
                  <c:v>2019 год факт</c:v>
                </c:pt>
                <c:pt idx="2">
                  <c:v>2020 год прогноз</c:v>
                </c:pt>
                <c:pt idx="3">
                  <c:v>2021 год проект</c:v>
                </c:pt>
                <c:pt idx="4">
                  <c:v>2022 год  проект</c:v>
                </c:pt>
                <c:pt idx="5">
                  <c:v>2023 год проект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52.6</c:v>
                </c:pt>
                <c:pt idx="1">
                  <c:v>47.1</c:v>
                </c:pt>
                <c:pt idx="2">
                  <c:v>40.1</c:v>
                </c:pt>
                <c:pt idx="3" formatCode="#,##0.0">
                  <c:v>90</c:v>
                </c:pt>
                <c:pt idx="4" formatCode="#,##0.0">
                  <c:v>90</c:v>
                </c:pt>
                <c:pt idx="5" formatCode="#,##0.0">
                  <c:v>9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7008000"/>
        <c:axId val="107009536"/>
      </c:lineChart>
      <c:catAx>
        <c:axId val="10700800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0" i="0" baseline="0"/>
            </a:pPr>
            <a:endParaRPr lang="ru-RU"/>
          </a:p>
        </c:txPr>
        <c:crossAx val="107009536"/>
        <c:crosses val="autoZero"/>
        <c:auto val="1"/>
        <c:lblAlgn val="ctr"/>
        <c:lblOffset val="100"/>
        <c:noMultiLvlLbl val="0"/>
      </c:catAx>
      <c:valAx>
        <c:axId val="10700953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7008000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730723932981084E-2"/>
          <c:y val="0.34187513139455389"/>
          <c:w val="0.93944330857044867"/>
          <c:h val="0.22566578648566071"/>
        </c:manualLayout>
      </c:layou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82550">
              <a:solidFill>
                <a:schemeClr val="accent2">
                  <a:lumMod val="50000"/>
                </a:schemeClr>
              </a:solidFill>
            </a:ln>
          </c:spPr>
          <c:marker>
            <c:symbol val="diamond"/>
            <c:size val="20"/>
            <c:spPr>
              <a:solidFill>
                <a:schemeClr val="accent2">
                  <a:lumMod val="50000"/>
                </a:schemeClr>
              </a:solidFill>
              <a:ln>
                <a:solidFill>
                  <a:schemeClr val="accent2">
                    <a:lumMod val="50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3.1828029560020642E-2"/>
                  <c:y val="-9.7364203993331955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 i="0" baseline="0" dirty="0" smtClean="0"/>
                      <a:t>2,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6053837978147825E-2"/>
                  <c:y val="-0.10585211041048646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,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5.0578621492886583E-2"/>
                  <c:y val="-0.11127993985366318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,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9550055361731474E-2"/>
                  <c:y val="-0.12643722050540676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,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6.2112812970334177E-2"/>
                  <c:y val="-9.739614053542293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,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5.0315522698309897E-2"/>
                  <c:y val="-0.15160923490295791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.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 i="0" baseline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7</c:f>
              <c:strCache>
                <c:ptCount val="6"/>
                <c:pt idx="0">
                  <c:v>2018 год факт</c:v>
                </c:pt>
                <c:pt idx="1">
                  <c:v>2019 год факт</c:v>
                </c:pt>
                <c:pt idx="2">
                  <c:v>2020 год прогноз</c:v>
                </c:pt>
                <c:pt idx="3">
                  <c:v>2021 год проект</c:v>
                </c:pt>
                <c:pt idx="4">
                  <c:v>2022 год  проект</c:v>
                </c:pt>
                <c:pt idx="5">
                  <c:v>2023 год проект</c:v>
                </c:pt>
              </c:strCache>
            </c:strRef>
          </c:cat>
          <c:val>
            <c:numRef>
              <c:f>Лист1!$B$2:$B$7</c:f>
              <c:numCache>
                <c:formatCode>#,##0.0</c:formatCode>
                <c:ptCount val="6"/>
                <c:pt idx="0">
                  <c:v>2.54</c:v>
                </c:pt>
                <c:pt idx="1">
                  <c:v>1.6300000000000001</c:v>
                </c:pt>
                <c:pt idx="2">
                  <c:v>1.1399999999999986</c:v>
                </c:pt>
                <c:pt idx="3">
                  <c:v>3.2800000000000002</c:v>
                </c:pt>
                <c:pt idx="4">
                  <c:v>3.79</c:v>
                </c:pt>
                <c:pt idx="5">
                  <c:v>4.359999999999998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7345024"/>
        <c:axId val="107346560"/>
      </c:lineChart>
      <c:catAx>
        <c:axId val="10734502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0" i="0" baseline="0"/>
            </a:pPr>
            <a:endParaRPr lang="ru-RU"/>
          </a:p>
        </c:txPr>
        <c:crossAx val="107346560"/>
        <c:crosses val="autoZero"/>
        <c:auto val="1"/>
        <c:lblAlgn val="ctr"/>
        <c:lblOffset val="100"/>
        <c:noMultiLvlLbl val="0"/>
      </c:catAx>
      <c:valAx>
        <c:axId val="107346560"/>
        <c:scaling>
          <c:orientation val="minMax"/>
        </c:scaling>
        <c:delete val="1"/>
        <c:axPos val="l"/>
        <c:numFmt formatCode="#,##0.0" sourceLinked="1"/>
        <c:majorTickMark val="out"/>
        <c:minorTickMark val="none"/>
        <c:tickLblPos val="nextTo"/>
        <c:crossAx val="107345024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045887861568051E-2"/>
          <c:y val="0.21342075193591001"/>
          <c:w val="0.95752561206402298"/>
          <c:h val="0.24417942253301958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ln w="76200">
              <a:solidFill>
                <a:srgbClr val="FF0000"/>
              </a:solidFill>
            </a:ln>
          </c:spPr>
          <c:marker>
            <c:symbol val="circle"/>
            <c:size val="23"/>
            <c:spPr>
              <a:solidFill>
                <a:srgbClr val="FF3300"/>
              </a:solidFill>
              <a:ln>
                <a:solidFill>
                  <a:srgbClr val="FF0000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marker>
          <c:dLbls>
            <c:dLbl>
              <c:idx val="3"/>
              <c:layout>
                <c:manualLayout>
                  <c:x val="-7.2982775727001584E-2"/>
                  <c:y val="-0.107767787706128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7
(отчет)</c:v>
                </c:pt>
                <c:pt idx="1">
                  <c:v>2018 
(отчет)</c:v>
                </c:pt>
                <c:pt idx="2">
                  <c:v>2019 
(отчет)</c:v>
                </c:pt>
                <c:pt idx="3">
                  <c:v>2020 
(оценка)</c:v>
                </c:pt>
                <c:pt idx="4">
                  <c:v>2021 
(проект)</c:v>
                </c:pt>
                <c:pt idx="5">
                  <c:v>2022 
(проект)</c:v>
                </c:pt>
                <c:pt idx="6">
                  <c:v>2023 
(проект)</c:v>
                </c:pt>
              </c:strCache>
            </c:strRef>
          </c:cat>
          <c:val>
            <c:numRef>
              <c:f>Лист1!$B$2:$B$8</c:f>
              <c:numCache>
                <c:formatCode>#,##0</c:formatCode>
                <c:ptCount val="7"/>
                <c:pt idx="0">
                  <c:v>2311</c:v>
                </c:pt>
                <c:pt idx="1">
                  <c:v>2452</c:v>
                </c:pt>
                <c:pt idx="2">
                  <c:v>3511</c:v>
                </c:pt>
                <c:pt idx="3">
                  <c:v>3497</c:v>
                </c:pt>
                <c:pt idx="4">
                  <c:v>3383</c:v>
                </c:pt>
                <c:pt idx="5">
                  <c:v>3068</c:v>
                </c:pt>
                <c:pt idx="6">
                  <c:v>288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830656"/>
        <c:axId val="39832192"/>
      </c:lineChart>
      <c:catAx>
        <c:axId val="398306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9832192"/>
        <c:crosses val="autoZero"/>
        <c:auto val="1"/>
        <c:lblAlgn val="ctr"/>
        <c:lblOffset val="100"/>
        <c:noMultiLvlLbl val="0"/>
      </c:catAx>
      <c:valAx>
        <c:axId val="39832192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one"/>
        <c:crossAx val="3983065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916683691278198E-2"/>
          <c:y val="0.14546987075103879"/>
          <c:w val="0.71944783464566964"/>
          <c:h val="0.4043801673228356"/>
        </c:manualLayout>
      </c:layou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marker>
            <c:symbol val="circle"/>
            <c:size val="8"/>
          </c:marker>
          <c:cat>
            <c:strRef>
              <c:f>Лист1!$A$2:$A$6</c:f>
              <c:strCache>
                <c:ptCount val="4"/>
                <c:pt idx="0">
                  <c:v>2019</c:v>
                </c:pt>
                <c:pt idx="1">
                  <c:v>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341</c:v>
                </c:pt>
                <c:pt idx="1">
                  <c:v>1454</c:v>
                </c:pt>
                <c:pt idx="2">
                  <c:v>1583</c:v>
                </c:pt>
                <c:pt idx="3">
                  <c:v>1630</c:v>
                </c:pt>
                <c:pt idx="4">
                  <c:v>155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490496"/>
        <c:axId val="42500480"/>
      </c:lineChart>
      <c:catAx>
        <c:axId val="42490496"/>
        <c:scaling>
          <c:orientation val="minMax"/>
        </c:scaling>
        <c:delete val="1"/>
        <c:axPos val="b"/>
        <c:majorTickMark val="out"/>
        <c:minorTickMark val="none"/>
        <c:tickLblPos val="nextTo"/>
        <c:crossAx val="42500480"/>
        <c:crosses val="autoZero"/>
        <c:auto val="1"/>
        <c:lblAlgn val="ctr"/>
        <c:lblOffset val="100"/>
        <c:noMultiLvlLbl val="0"/>
      </c:catAx>
      <c:valAx>
        <c:axId val="42500480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42490496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ДФЛ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(оценка)</c:v>
                </c:pt>
                <c:pt idx="2">
                  <c:v>2021(прогноз)</c:v>
                </c:pt>
                <c:pt idx="3">
                  <c:v>2022(прогноз)</c:v>
                </c:pt>
                <c:pt idx="4">
                  <c:v>2023(прогноз)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783389</c:v>
                </c:pt>
                <c:pt idx="1">
                  <c:v>1004768</c:v>
                </c:pt>
                <c:pt idx="2">
                  <c:v>993654</c:v>
                </c:pt>
                <c:pt idx="3">
                  <c:v>1057878</c:v>
                </c:pt>
                <c:pt idx="4">
                  <c:v>95557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Акцизы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(оценка)</c:v>
                </c:pt>
                <c:pt idx="2">
                  <c:v>2021(прогноз)</c:v>
                </c:pt>
                <c:pt idx="3">
                  <c:v>2022(прогноз)</c:v>
                </c:pt>
                <c:pt idx="4">
                  <c:v>2023(прогноз)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21600</c:v>
                </c:pt>
                <c:pt idx="1">
                  <c:v>22563</c:v>
                </c:pt>
                <c:pt idx="2">
                  <c:v>23011</c:v>
                </c:pt>
                <c:pt idx="3">
                  <c:v>24134</c:v>
                </c:pt>
                <c:pt idx="4">
                  <c:v>2411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алоги на совокупный доход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(оценка)</c:v>
                </c:pt>
                <c:pt idx="2">
                  <c:v>2021(прогноз)</c:v>
                </c:pt>
                <c:pt idx="3">
                  <c:v>2022(прогноз)</c:v>
                </c:pt>
                <c:pt idx="4">
                  <c:v>2023(прогноз)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91048</c:v>
                </c:pt>
                <c:pt idx="1">
                  <c:v>140264</c:v>
                </c:pt>
                <c:pt idx="2">
                  <c:v>199499</c:v>
                </c:pt>
                <c:pt idx="3">
                  <c:v>170272</c:v>
                </c:pt>
                <c:pt idx="4">
                  <c:v>182991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Налог на имущество ФЛ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(оценка)</c:v>
                </c:pt>
                <c:pt idx="2">
                  <c:v>2021(прогноз)</c:v>
                </c:pt>
                <c:pt idx="3">
                  <c:v>2022(прогноз)</c:v>
                </c:pt>
                <c:pt idx="4">
                  <c:v>2023(прогноз)</c:v>
                </c:pt>
              </c:strCache>
            </c:strRef>
          </c:cat>
          <c:val>
            <c:numRef>
              <c:f>Лист1!$E$2:$E$6</c:f>
              <c:numCache>
                <c:formatCode>General</c:formatCode>
                <c:ptCount val="5"/>
                <c:pt idx="0">
                  <c:v>146185</c:v>
                </c:pt>
                <c:pt idx="1">
                  <c:v>113118</c:v>
                </c:pt>
                <c:pt idx="2">
                  <c:v>154673</c:v>
                </c:pt>
                <c:pt idx="3">
                  <c:v>161943</c:v>
                </c:pt>
                <c:pt idx="4">
                  <c:v>170202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Земельный налог</c:v>
                </c:pt>
              </c:strCache>
            </c:strRef>
          </c:tx>
          <c:spPr>
            <a:solidFill>
              <a:srgbClr val="7030A0"/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(оценка)</c:v>
                </c:pt>
                <c:pt idx="2">
                  <c:v>2021(прогноз)</c:v>
                </c:pt>
                <c:pt idx="3">
                  <c:v>2022(прогноз)</c:v>
                </c:pt>
                <c:pt idx="4">
                  <c:v>2023(прогноз)</c:v>
                </c:pt>
              </c:strCache>
            </c:strRef>
          </c:cat>
          <c:val>
            <c:numRef>
              <c:f>Лист1!$F$2:$F$6</c:f>
              <c:numCache>
                <c:formatCode>General</c:formatCode>
                <c:ptCount val="5"/>
                <c:pt idx="0">
                  <c:v>165584</c:v>
                </c:pt>
                <c:pt idx="1">
                  <c:v>139496</c:v>
                </c:pt>
                <c:pt idx="2">
                  <c:v>173994</c:v>
                </c:pt>
                <c:pt idx="3">
                  <c:v>174370</c:v>
                </c:pt>
                <c:pt idx="4">
                  <c:v>176065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Государственная пошлина</c:v>
                </c:pt>
              </c:strCache>
            </c:strRef>
          </c:tx>
          <c:invertIfNegative val="0"/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(оценка)</c:v>
                </c:pt>
                <c:pt idx="2">
                  <c:v>2021(прогноз)</c:v>
                </c:pt>
                <c:pt idx="3">
                  <c:v>2022(прогноз)</c:v>
                </c:pt>
                <c:pt idx="4">
                  <c:v>2023(прогноз)</c:v>
                </c:pt>
              </c:strCache>
            </c:strRef>
          </c:cat>
          <c:val>
            <c:numRef>
              <c:f>Лист1!$G$2:$G$6</c:f>
              <c:numCache>
                <c:formatCode>General</c:formatCode>
                <c:ptCount val="5"/>
                <c:pt idx="0">
                  <c:v>33137</c:v>
                </c:pt>
                <c:pt idx="1">
                  <c:v>33724</c:v>
                </c:pt>
                <c:pt idx="2">
                  <c:v>38034</c:v>
                </c:pt>
                <c:pt idx="3">
                  <c:v>41550</c:v>
                </c:pt>
                <c:pt idx="4">
                  <c:v>4558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2687872"/>
        <c:axId val="42697856"/>
      </c:barChart>
      <c:catAx>
        <c:axId val="4268787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42697856"/>
        <c:crosses val="autoZero"/>
        <c:auto val="1"/>
        <c:lblAlgn val="ctr"/>
        <c:lblOffset val="100"/>
        <c:noMultiLvlLbl val="0"/>
      </c:catAx>
      <c:valAx>
        <c:axId val="42697856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4268787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5871698977541959"/>
          <c:y val="0"/>
          <c:w val="0.33416895398169505"/>
          <c:h val="1"/>
        </c:manualLayout>
      </c:layout>
      <c:overlay val="0"/>
      <c:txPr>
        <a:bodyPr/>
        <a:lstStyle/>
        <a:p>
          <a:pPr>
            <a:defRPr sz="16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783093795431707"/>
          <c:y val="7.2085149640758781E-2"/>
          <c:w val="0.74528301886792447"/>
          <c:h val="0.9150579150579145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2"/>
          <c:dPt>
            <c:idx val="0"/>
            <c:bubble3D val="0"/>
            <c:explosion val="0"/>
            <c:spPr>
              <a:solidFill>
                <a:srgbClr val="FFFF00"/>
              </a:solidFill>
            </c:spPr>
          </c:dPt>
          <c:dPt>
            <c:idx val="1"/>
            <c:bubble3D val="0"/>
            <c:spPr>
              <a:solidFill>
                <a:srgbClr val="00B050"/>
              </a:solidFill>
            </c:spPr>
          </c:dPt>
          <c:dPt>
            <c:idx val="2"/>
            <c:bubble3D val="0"/>
            <c:spPr>
              <a:solidFill>
                <a:srgbClr val="FF0000"/>
              </a:solidFill>
            </c:spPr>
          </c:dPt>
          <c:dPt>
            <c:idx val="3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</c:spPr>
          </c:dPt>
          <c:dPt>
            <c:idx val="4"/>
            <c:bubble3D val="0"/>
            <c:spPr>
              <a:solidFill>
                <a:srgbClr val="7030A0"/>
              </a:solidFill>
            </c:spPr>
          </c:dPt>
          <c:cat>
            <c:strRef>
              <c:f>Лист1!$A$2:$A$7</c:f>
              <c:strCache>
                <c:ptCount val="6"/>
                <c:pt idx="0">
                  <c:v>ндфл</c:v>
                </c:pt>
                <c:pt idx="1">
                  <c:v>Акц</c:v>
                </c:pt>
                <c:pt idx="2">
                  <c:v>Налоги на совокупный</c:v>
                </c:pt>
                <c:pt idx="3">
                  <c:v>Налог на им-во ФЗ</c:v>
                </c:pt>
                <c:pt idx="4">
                  <c:v>Зем. налог</c:v>
                </c:pt>
                <c:pt idx="5">
                  <c:v>Гос. Пошлина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62.8</c:v>
                </c:pt>
                <c:pt idx="1">
                  <c:v>1.5</c:v>
                </c:pt>
                <c:pt idx="2">
                  <c:v>12.6</c:v>
                </c:pt>
                <c:pt idx="3">
                  <c:v>9.8000000000000007</c:v>
                </c:pt>
                <c:pt idx="4">
                  <c:v>12.6</c:v>
                </c:pt>
                <c:pt idx="5">
                  <c:v>2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542614904060688E-2"/>
          <c:y val="0.15728056823947234"/>
          <c:w val="0.61634973841121332"/>
          <c:h val="0.6360299140689614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чие неналоговые доходы</c:v>
                </c:pt>
              </c:strCache>
            </c:strRef>
          </c:tx>
          <c:spPr>
            <a:solidFill>
              <a:srgbClr val="3333FF"/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(оценка)</c:v>
                </c:pt>
                <c:pt idx="2">
                  <c:v>2021(прогноз)</c:v>
                </c:pt>
                <c:pt idx="3">
                  <c:v>2022(прогноз)</c:v>
                </c:pt>
                <c:pt idx="4">
                  <c:v>2023(прогноз)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6794</c:v>
                </c:pt>
                <c:pt idx="1">
                  <c:v>11337</c:v>
                </c:pt>
                <c:pt idx="2">
                  <c:v>16040</c:v>
                </c:pt>
                <c:pt idx="3">
                  <c:v>16040</c:v>
                </c:pt>
                <c:pt idx="4">
                  <c:v>1604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латежи при пользовании природными ресурсами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(оценка)</c:v>
                </c:pt>
                <c:pt idx="2">
                  <c:v>2021(прогноз)</c:v>
                </c:pt>
                <c:pt idx="3">
                  <c:v>2022(прогноз)</c:v>
                </c:pt>
                <c:pt idx="4">
                  <c:v>2023(прогноз)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981</c:v>
                </c:pt>
                <c:pt idx="1">
                  <c:v>1783</c:v>
                </c:pt>
                <c:pt idx="2">
                  <c:v>1222</c:v>
                </c:pt>
                <c:pt idx="3">
                  <c:v>1222</c:v>
                </c:pt>
                <c:pt idx="4">
                  <c:v>122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Доходы от оказания платных услуг</c:v>
                </c:pt>
              </c:strCache>
            </c:strRef>
          </c:tx>
          <c:spPr>
            <a:solidFill>
              <a:srgbClr val="CE8489"/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(оценка)</c:v>
                </c:pt>
                <c:pt idx="2">
                  <c:v>2021(прогноз)</c:v>
                </c:pt>
                <c:pt idx="3">
                  <c:v>2022(прогноз)</c:v>
                </c:pt>
                <c:pt idx="4">
                  <c:v>2023(прогноз)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4630</c:v>
                </c:pt>
                <c:pt idx="1">
                  <c:v>5562</c:v>
                </c:pt>
                <c:pt idx="2">
                  <c:v>6032</c:v>
                </c:pt>
                <c:pt idx="3">
                  <c:v>6032</c:v>
                </c:pt>
                <c:pt idx="4">
                  <c:v>6032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Штрафы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(оценка)</c:v>
                </c:pt>
                <c:pt idx="2">
                  <c:v>2021(прогноз)</c:v>
                </c:pt>
                <c:pt idx="3">
                  <c:v>2022(прогноз)</c:v>
                </c:pt>
                <c:pt idx="4">
                  <c:v>2023(прогноз)</c:v>
                </c:pt>
              </c:strCache>
            </c:strRef>
          </c:cat>
          <c:val>
            <c:numRef>
              <c:f>Лист1!$E$2:$E$6</c:f>
              <c:numCache>
                <c:formatCode>General</c:formatCode>
                <c:ptCount val="5"/>
                <c:pt idx="0">
                  <c:v>21002</c:v>
                </c:pt>
                <c:pt idx="1">
                  <c:v>64198</c:v>
                </c:pt>
                <c:pt idx="2">
                  <c:v>8522</c:v>
                </c:pt>
                <c:pt idx="3">
                  <c:v>7902</c:v>
                </c:pt>
                <c:pt idx="4">
                  <c:v>7902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Доходы от продажи муниципального имущества</c:v>
                </c:pt>
              </c:strCache>
            </c:strRef>
          </c:tx>
          <c:spPr>
            <a:solidFill>
              <a:srgbClr val="7030A0"/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(оценка)</c:v>
                </c:pt>
                <c:pt idx="2">
                  <c:v>2021(прогноз)</c:v>
                </c:pt>
                <c:pt idx="3">
                  <c:v>2022(прогноз)</c:v>
                </c:pt>
                <c:pt idx="4">
                  <c:v>2023(прогноз)</c:v>
                </c:pt>
              </c:strCache>
            </c:strRef>
          </c:cat>
          <c:val>
            <c:numRef>
              <c:f>Лист1!$F$2:$F$6</c:f>
              <c:numCache>
                <c:formatCode>General</c:formatCode>
                <c:ptCount val="5"/>
                <c:pt idx="0">
                  <c:v>25061</c:v>
                </c:pt>
                <c:pt idx="1">
                  <c:v>19399</c:v>
                </c:pt>
                <c:pt idx="2">
                  <c:v>21510</c:v>
                </c:pt>
                <c:pt idx="3">
                  <c:v>21518</c:v>
                </c:pt>
                <c:pt idx="4">
                  <c:v>14568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Доходы от использования муниципального имущества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(оценка)</c:v>
                </c:pt>
                <c:pt idx="2">
                  <c:v>2021(прогноз)</c:v>
                </c:pt>
                <c:pt idx="3">
                  <c:v>2022(прогноз)</c:v>
                </c:pt>
                <c:pt idx="4">
                  <c:v>2023(прогноз)</c:v>
                </c:pt>
              </c:strCache>
            </c:strRef>
          </c:cat>
          <c:val>
            <c:numRef>
              <c:f>Лист1!$G$2:$G$6</c:f>
              <c:numCache>
                <c:formatCode>General</c:formatCode>
                <c:ptCount val="5"/>
                <c:pt idx="0">
                  <c:v>90254</c:v>
                </c:pt>
                <c:pt idx="1">
                  <c:v>21879</c:v>
                </c:pt>
                <c:pt idx="2">
                  <c:v>111301</c:v>
                </c:pt>
                <c:pt idx="3">
                  <c:v>109996</c:v>
                </c:pt>
                <c:pt idx="4">
                  <c:v>1138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2626048"/>
        <c:axId val="42631936"/>
      </c:barChart>
      <c:catAx>
        <c:axId val="4262604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42631936"/>
        <c:crosses val="autoZero"/>
        <c:auto val="1"/>
        <c:lblAlgn val="ctr"/>
        <c:lblOffset val="100"/>
        <c:noMultiLvlLbl val="0"/>
      </c:catAx>
      <c:valAx>
        <c:axId val="42631936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42626048"/>
        <c:crosses val="autoZero"/>
        <c:crossBetween val="between"/>
      </c:valAx>
    </c:plotArea>
    <c:legend>
      <c:legendPos val="tr"/>
      <c:layout>
        <c:manualLayout>
          <c:xMode val="edge"/>
          <c:yMode val="edge"/>
          <c:x val="0.66666666666666674"/>
          <c:y val="0"/>
          <c:w val="0.33333333333333331"/>
          <c:h val="1"/>
        </c:manualLayout>
      </c:layout>
      <c:overlay val="0"/>
      <c:txPr>
        <a:bodyPr/>
        <a:lstStyle/>
        <a:p>
          <a:pPr>
            <a:defRPr sz="1050" b="1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916666666666672E-2"/>
          <c:y val="0.14010949803149642"/>
          <c:w val="0.71944783464566964"/>
          <c:h val="0.4043801673228356"/>
        </c:manualLayout>
      </c:layou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marker>
            <c:symbol val="circle"/>
            <c:size val="9"/>
          </c:marker>
          <c:cat>
            <c:strRef>
              <c:f>Лист1!$A$2:$A$6</c:f>
              <c:strCache>
                <c:ptCount val="4"/>
                <c:pt idx="0">
                  <c:v>2019</c:v>
                </c:pt>
                <c:pt idx="1">
                  <c:v>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69</c:v>
                </c:pt>
                <c:pt idx="1">
                  <c:v>124</c:v>
                </c:pt>
                <c:pt idx="2">
                  <c:v>165</c:v>
                </c:pt>
                <c:pt idx="3">
                  <c:v>163</c:v>
                </c:pt>
                <c:pt idx="4">
                  <c:v>16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777856"/>
        <c:axId val="44779392"/>
      </c:lineChart>
      <c:catAx>
        <c:axId val="44777856"/>
        <c:scaling>
          <c:orientation val="minMax"/>
        </c:scaling>
        <c:delete val="1"/>
        <c:axPos val="b"/>
        <c:majorTickMark val="out"/>
        <c:minorTickMark val="none"/>
        <c:tickLblPos val="nextTo"/>
        <c:crossAx val="44779392"/>
        <c:crosses val="autoZero"/>
        <c:auto val="1"/>
        <c:lblAlgn val="ctr"/>
        <c:lblOffset val="100"/>
        <c:noMultiLvlLbl val="0"/>
      </c:catAx>
      <c:valAx>
        <c:axId val="4477939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4777856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1FE9D51-8B5D-4A66-A743-9EECF92DACC0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634A7CCD-4A3E-4375-8B02-58FCFD4E7809}">
      <dgm:prSet phldrT="[Текст]" custT="1"/>
      <dgm:spPr>
        <a:solidFill>
          <a:schemeClr val="bg1"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800" dirty="0" smtClean="0">
              <a:solidFill>
                <a:schemeClr val="tx1"/>
              </a:solidFill>
            </a:rPr>
            <a:t>Концентрация ресурсов на достижении результатов мероприятий муниципальных программ</a:t>
          </a:r>
          <a:endParaRPr lang="ru-RU" sz="1800" dirty="0"/>
        </a:p>
      </dgm:t>
    </dgm:pt>
    <dgm:pt modelId="{D58B3B5C-AD67-404E-BF25-CA72B7CF6567}" type="parTrans" cxnId="{BEF4B3FF-8755-4620-9650-271226CB9961}">
      <dgm:prSet/>
      <dgm:spPr/>
      <dgm:t>
        <a:bodyPr/>
        <a:lstStyle/>
        <a:p>
          <a:endParaRPr lang="ru-RU"/>
        </a:p>
      </dgm:t>
    </dgm:pt>
    <dgm:pt modelId="{E50723EE-6094-403D-A9BA-0462E1AC6FD2}" type="sibTrans" cxnId="{BEF4B3FF-8755-4620-9650-271226CB9961}">
      <dgm:prSet/>
      <dgm:spPr/>
      <dgm:t>
        <a:bodyPr/>
        <a:lstStyle/>
        <a:p>
          <a:endParaRPr lang="ru-RU"/>
        </a:p>
      </dgm:t>
    </dgm:pt>
    <dgm:pt modelId="{60EC2062-01E3-48EB-9DAC-D3256DD7CF5F}">
      <dgm:prSet phldrT="[Текст]" custT="1"/>
      <dgm:spPr>
        <a:solidFill>
          <a:schemeClr val="bg1"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800" dirty="0" smtClean="0"/>
            <a:t>Повышение эффективности расходования бюджетных средств</a:t>
          </a:r>
        </a:p>
      </dgm:t>
    </dgm:pt>
    <dgm:pt modelId="{D5AB6C50-CF10-47E0-9F0C-8D344EFCD4A7}" type="parTrans" cxnId="{F879977E-9960-40C6-A9A5-71D3969A2930}">
      <dgm:prSet/>
      <dgm:spPr/>
      <dgm:t>
        <a:bodyPr/>
        <a:lstStyle/>
        <a:p>
          <a:endParaRPr lang="ru-RU"/>
        </a:p>
      </dgm:t>
    </dgm:pt>
    <dgm:pt modelId="{F7CBC8F4-197A-466C-8804-D107C1F28AA2}" type="sibTrans" cxnId="{F879977E-9960-40C6-A9A5-71D3969A2930}">
      <dgm:prSet/>
      <dgm:spPr/>
      <dgm:t>
        <a:bodyPr/>
        <a:lstStyle/>
        <a:p>
          <a:endParaRPr lang="ru-RU"/>
        </a:p>
      </dgm:t>
    </dgm:pt>
    <dgm:pt modelId="{F65FB171-2351-4A0A-8575-13A5D12CBC21}">
      <dgm:prSet phldrT="[Текст]" custT="1"/>
      <dgm:spPr>
        <a:solidFill>
          <a:schemeClr val="bg1"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800" dirty="0" smtClean="0"/>
            <a:t>Обеспечение открытости и прозрачности бюджетного процесса</a:t>
          </a:r>
        </a:p>
      </dgm:t>
    </dgm:pt>
    <dgm:pt modelId="{200FE0BD-FC0E-44C7-A95C-F3D011106A1A}" type="parTrans" cxnId="{2AB54CF7-1BB5-4E35-B3A5-9EB57C5C38F8}">
      <dgm:prSet/>
      <dgm:spPr/>
      <dgm:t>
        <a:bodyPr/>
        <a:lstStyle/>
        <a:p>
          <a:endParaRPr lang="ru-RU"/>
        </a:p>
      </dgm:t>
    </dgm:pt>
    <dgm:pt modelId="{320C8B3F-F1FA-48A0-82A0-2C97A390EA1C}" type="sibTrans" cxnId="{2AB54CF7-1BB5-4E35-B3A5-9EB57C5C38F8}">
      <dgm:prSet/>
      <dgm:spPr/>
      <dgm:t>
        <a:bodyPr/>
        <a:lstStyle/>
        <a:p>
          <a:endParaRPr lang="ru-RU"/>
        </a:p>
      </dgm:t>
    </dgm:pt>
    <dgm:pt modelId="{CB13AB9C-287D-4BC3-B655-B30C45409900}">
      <dgm:prSet phldrT="[Текст]" custT="1"/>
      <dgm:spPr>
        <a:solidFill>
          <a:schemeClr val="bg1"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800" dirty="0" smtClean="0"/>
            <a:t>Развитие информационных технологий в сфере управления муниципальными финансами</a:t>
          </a:r>
        </a:p>
      </dgm:t>
    </dgm:pt>
    <dgm:pt modelId="{26DE8723-1490-4CF4-B091-0344FF4E1CBB}" type="parTrans" cxnId="{C8566615-1D39-4170-8387-C08E7EFFD8E9}">
      <dgm:prSet/>
      <dgm:spPr/>
      <dgm:t>
        <a:bodyPr/>
        <a:lstStyle/>
        <a:p>
          <a:endParaRPr lang="ru-RU"/>
        </a:p>
      </dgm:t>
    </dgm:pt>
    <dgm:pt modelId="{02503875-5E60-4506-B72B-431E1826906D}" type="sibTrans" cxnId="{C8566615-1D39-4170-8387-C08E7EFFD8E9}">
      <dgm:prSet/>
      <dgm:spPr/>
      <dgm:t>
        <a:bodyPr/>
        <a:lstStyle/>
        <a:p>
          <a:endParaRPr lang="ru-RU"/>
        </a:p>
      </dgm:t>
    </dgm:pt>
    <dgm:pt modelId="{6BCE3F0D-D018-45A7-9D3D-E024067599BA}" type="pres">
      <dgm:prSet presAssocID="{51FE9D51-8B5D-4A66-A743-9EECF92DACC0}" presName="compositeShape" presStyleCnt="0">
        <dgm:presLayoutVars>
          <dgm:dir/>
          <dgm:resizeHandles/>
        </dgm:presLayoutVars>
      </dgm:prSet>
      <dgm:spPr/>
    </dgm:pt>
    <dgm:pt modelId="{86D3E103-8A36-45DC-B5C3-CF22D009CA52}" type="pres">
      <dgm:prSet presAssocID="{51FE9D51-8B5D-4A66-A743-9EECF92DACC0}" presName="pyramid" presStyleLbl="node1" presStyleIdx="0" presStyleCnt="1" custLinFactNeighborX="-548"/>
      <dgm:spPr>
        <a:noFill/>
        <a:ln>
          <a:noFill/>
        </a:ln>
        <a:scene3d>
          <a:camera prst="orthographicFront"/>
          <a:lightRig rig="threePt" dir="t"/>
        </a:scene3d>
        <a:sp3d>
          <a:bevelT/>
        </a:sp3d>
      </dgm:spPr>
    </dgm:pt>
    <dgm:pt modelId="{9E398727-EE73-4DB4-A582-3AFBF7DF8B64}" type="pres">
      <dgm:prSet presAssocID="{51FE9D51-8B5D-4A66-A743-9EECF92DACC0}" presName="theList" presStyleCnt="0"/>
      <dgm:spPr/>
    </dgm:pt>
    <dgm:pt modelId="{3CF70D70-AE55-4C94-8AFA-BB59D843C24B}" type="pres">
      <dgm:prSet presAssocID="{634A7CCD-4A3E-4375-8B02-58FCFD4E7809}" presName="aNode" presStyleLbl="fgAcc1" presStyleIdx="0" presStyleCnt="4" custScaleX="142125" custScaleY="156420" custLinFactNeighborX="29517" custLinFactNeighborY="-471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822CC1-2B13-45F4-98AD-F6DA9208CA8C}" type="pres">
      <dgm:prSet presAssocID="{634A7CCD-4A3E-4375-8B02-58FCFD4E7809}" presName="aSpace" presStyleCnt="0"/>
      <dgm:spPr/>
    </dgm:pt>
    <dgm:pt modelId="{26D55FEB-4075-445C-B970-88647CC17B89}" type="pres">
      <dgm:prSet presAssocID="{60EC2062-01E3-48EB-9DAC-D3256DD7CF5F}" presName="aNode" presStyleLbl="fgAcc1" presStyleIdx="1" presStyleCnt="4" custScaleX="142125" custLinFactNeighborX="28980" custLinFactNeighborY="2355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C26C76-7FC1-4A4A-B832-E4F9E11E3257}" type="pres">
      <dgm:prSet presAssocID="{60EC2062-01E3-48EB-9DAC-D3256DD7CF5F}" presName="aSpace" presStyleCnt="0"/>
      <dgm:spPr/>
    </dgm:pt>
    <dgm:pt modelId="{4E953DC2-6933-4277-B628-047DB8510980}" type="pres">
      <dgm:prSet presAssocID="{F65FB171-2351-4A0A-8575-13A5D12CBC21}" presName="aNode" presStyleLbl="fgAcc1" presStyleIdx="2" presStyleCnt="4" custScaleX="141344" custLinFactNeighborX="29517" custLinFactNeighborY="8643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B9505B-9C59-41AC-9E29-B82F51D61071}" type="pres">
      <dgm:prSet presAssocID="{F65FB171-2351-4A0A-8575-13A5D12CBC21}" presName="aSpace" presStyleCnt="0"/>
      <dgm:spPr/>
    </dgm:pt>
    <dgm:pt modelId="{5FA2B5B4-5747-465E-AABE-567757F1896F}" type="pres">
      <dgm:prSet presAssocID="{CB13AB9C-287D-4BC3-B655-B30C45409900}" presName="aNode" presStyleLbl="fgAcc1" presStyleIdx="3" presStyleCnt="4" custScaleX="141710" custLinFactY="16940" custLinFactNeighborX="28712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0582DFA-A1DE-4B02-BB94-37A52C8C8A86}" type="pres">
      <dgm:prSet presAssocID="{CB13AB9C-287D-4BC3-B655-B30C45409900}" presName="aSpace" presStyleCnt="0"/>
      <dgm:spPr/>
    </dgm:pt>
  </dgm:ptLst>
  <dgm:cxnLst>
    <dgm:cxn modelId="{F879977E-9960-40C6-A9A5-71D3969A2930}" srcId="{51FE9D51-8B5D-4A66-A743-9EECF92DACC0}" destId="{60EC2062-01E3-48EB-9DAC-D3256DD7CF5F}" srcOrd="1" destOrd="0" parTransId="{D5AB6C50-CF10-47E0-9F0C-8D344EFCD4A7}" sibTransId="{F7CBC8F4-197A-466C-8804-D107C1F28AA2}"/>
    <dgm:cxn modelId="{269771BA-D53F-49A2-9A74-220565EDF063}" type="presOf" srcId="{634A7CCD-4A3E-4375-8B02-58FCFD4E7809}" destId="{3CF70D70-AE55-4C94-8AFA-BB59D843C24B}" srcOrd="0" destOrd="0" presId="urn:microsoft.com/office/officeart/2005/8/layout/pyramid2"/>
    <dgm:cxn modelId="{2AB54CF7-1BB5-4E35-B3A5-9EB57C5C38F8}" srcId="{51FE9D51-8B5D-4A66-A743-9EECF92DACC0}" destId="{F65FB171-2351-4A0A-8575-13A5D12CBC21}" srcOrd="2" destOrd="0" parTransId="{200FE0BD-FC0E-44C7-A95C-F3D011106A1A}" sibTransId="{320C8B3F-F1FA-48A0-82A0-2C97A390EA1C}"/>
    <dgm:cxn modelId="{24BF83E7-6968-4DCC-805B-730A3BF74295}" type="presOf" srcId="{51FE9D51-8B5D-4A66-A743-9EECF92DACC0}" destId="{6BCE3F0D-D018-45A7-9D3D-E024067599BA}" srcOrd="0" destOrd="0" presId="urn:microsoft.com/office/officeart/2005/8/layout/pyramid2"/>
    <dgm:cxn modelId="{D1FA9DE4-7B01-4906-93C3-3E2B82D2FF63}" type="presOf" srcId="{F65FB171-2351-4A0A-8575-13A5D12CBC21}" destId="{4E953DC2-6933-4277-B628-047DB8510980}" srcOrd="0" destOrd="0" presId="urn:microsoft.com/office/officeart/2005/8/layout/pyramid2"/>
    <dgm:cxn modelId="{B3B0B87C-022A-438D-AC57-9E1ACC773D27}" type="presOf" srcId="{60EC2062-01E3-48EB-9DAC-D3256DD7CF5F}" destId="{26D55FEB-4075-445C-B970-88647CC17B89}" srcOrd="0" destOrd="0" presId="urn:microsoft.com/office/officeart/2005/8/layout/pyramid2"/>
    <dgm:cxn modelId="{C8566615-1D39-4170-8387-C08E7EFFD8E9}" srcId="{51FE9D51-8B5D-4A66-A743-9EECF92DACC0}" destId="{CB13AB9C-287D-4BC3-B655-B30C45409900}" srcOrd="3" destOrd="0" parTransId="{26DE8723-1490-4CF4-B091-0344FF4E1CBB}" sibTransId="{02503875-5E60-4506-B72B-431E1826906D}"/>
    <dgm:cxn modelId="{7C0DF7DF-A33B-4E9C-94DB-1F1A828D2EF7}" type="presOf" srcId="{CB13AB9C-287D-4BC3-B655-B30C45409900}" destId="{5FA2B5B4-5747-465E-AABE-567757F1896F}" srcOrd="0" destOrd="0" presId="urn:microsoft.com/office/officeart/2005/8/layout/pyramid2"/>
    <dgm:cxn modelId="{BEF4B3FF-8755-4620-9650-271226CB9961}" srcId="{51FE9D51-8B5D-4A66-A743-9EECF92DACC0}" destId="{634A7CCD-4A3E-4375-8B02-58FCFD4E7809}" srcOrd="0" destOrd="0" parTransId="{D58B3B5C-AD67-404E-BF25-CA72B7CF6567}" sibTransId="{E50723EE-6094-403D-A9BA-0462E1AC6FD2}"/>
    <dgm:cxn modelId="{6779AD27-8E0B-4168-A1FA-F3EA941189AA}" type="presParOf" srcId="{6BCE3F0D-D018-45A7-9D3D-E024067599BA}" destId="{86D3E103-8A36-45DC-B5C3-CF22D009CA52}" srcOrd="0" destOrd="0" presId="urn:microsoft.com/office/officeart/2005/8/layout/pyramid2"/>
    <dgm:cxn modelId="{4E5B0A3C-8BBD-4FE9-B2F0-5076D4F2B90D}" type="presParOf" srcId="{6BCE3F0D-D018-45A7-9D3D-E024067599BA}" destId="{9E398727-EE73-4DB4-A582-3AFBF7DF8B64}" srcOrd="1" destOrd="0" presId="urn:microsoft.com/office/officeart/2005/8/layout/pyramid2"/>
    <dgm:cxn modelId="{2629160F-EF49-4A59-827C-4BBD265EF150}" type="presParOf" srcId="{9E398727-EE73-4DB4-A582-3AFBF7DF8B64}" destId="{3CF70D70-AE55-4C94-8AFA-BB59D843C24B}" srcOrd="0" destOrd="0" presId="urn:microsoft.com/office/officeart/2005/8/layout/pyramid2"/>
    <dgm:cxn modelId="{2B84E0CE-F7E2-45AC-8DB0-DB12CD255AE0}" type="presParOf" srcId="{9E398727-EE73-4DB4-A582-3AFBF7DF8B64}" destId="{8D822CC1-2B13-45F4-98AD-F6DA9208CA8C}" srcOrd="1" destOrd="0" presId="urn:microsoft.com/office/officeart/2005/8/layout/pyramid2"/>
    <dgm:cxn modelId="{F7100164-4DF4-4EA6-959F-BBE3FD8B7C73}" type="presParOf" srcId="{9E398727-EE73-4DB4-A582-3AFBF7DF8B64}" destId="{26D55FEB-4075-445C-B970-88647CC17B89}" srcOrd="2" destOrd="0" presId="urn:microsoft.com/office/officeart/2005/8/layout/pyramid2"/>
    <dgm:cxn modelId="{03D427C4-53B5-4611-99E0-729E7F2A7B5F}" type="presParOf" srcId="{9E398727-EE73-4DB4-A582-3AFBF7DF8B64}" destId="{55C26C76-7FC1-4A4A-B832-E4F9E11E3257}" srcOrd="3" destOrd="0" presId="urn:microsoft.com/office/officeart/2005/8/layout/pyramid2"/>
    <dgm:cxn modelId="{54670F00-C854-4114-B7E2-84FF7DF05B73}" type="presParOf" srcId="{9E398727-EE73-4DB4-A582-3AFBF7DF8B64}" destId="{4E953DC2-6933-4277-B628-047DB8510980}" srcOrd="4" destOrd="0" presId="urn:microsoft.com/office/officeart/2005/8/layout/pyramid2"/>
    <dgm:cxn modelId="{A41A0E88-6FEF-4F0D-A3CA-DF8166D99C1B}" type="presParOf" srcId="{9E398727-EE73-4DB4-A582-3AFBF7DF8B64}" destId="{73B9505B-9C59-41AC-9E29-B82F51D61071}" srcOrd="5" destOrd="0" presId="urn:microsoft.com/office/officeart/2005/8/layout/pyramid2"/>
    <dgm:cxn modelId="{94F88128-7152-4139-8D2B-FB14CC76ACD5}" type="presParOf" srcId="{9E398727-EE73-4DB4-A582-3AFBF7DF8B64}" destId="{5FA2B5B4-5747-465E-AABE-567757F1896F}" srcOrd="6" destOrd="0" presId="urn:microsoft.com/office/officeart/2005/8/layout/pyramid2"/>
    <dgm:cxn modelId="{452838BE-CE8E-492F-88DA-7657A4886470}" type="presParOf" srcId="{9E398727-EE73-4DB4-A582-3AFBF7DF8B64}" destId="{90582DFA-A1DE-4B02-BB94-37A52C8C8A86}" srcOrd="7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1FE9D51-8B5D-4A66-A743-9EECF92DACC0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634A7CCD-4A3E-4375-8B02-58FCFD4E7809}">
      <dgm:prSet phldrT="[Текст]" custT="1"/>
      <dgm:spPr>
        <a:solidFill>
          <a:schemeClr val="bg1"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800" dirty="0" smtClean="0"/>
            <a:t>Поддержка инвестиционной активности хозяйствующих субъектов</a:t>
          </a:r>
          <a:endParaRPr lang="ru-RU" sz="1800" dirty="0"/>
        </a:p>
      </dgm:t>
    </dgm:pt>
    <dgm:pt modelId="{D58B3B5C-AD67-404E-BF25-CA72B7CF6567}" type="parTrans" cxnId="{BEF4B3FF-8755-4620-9650-271226CB9961}">
      <dgm:prSet/>
      <dgm:spPr/>
      <dgm:t>
        <a:bodyPr/>
        <a:lstStyle/>
        <a:p>
          <a:endParaRPr lang="ru-RU"/>
        </a:p>
      </dgm:t>
    </dgm:pt>
    <dgm:pt modelId="{E50723EE-6094-403D-A9BA-0462E1AC6FD2}" type="sibTrans" cxnId="{BEF4B3FF-8755-4620-9650-271226CB9961}">
      <dgm:prSet/>
      <dgm:spPr/>
      <dgm:t>
        <a:bodyPr/>
        <a:lstStyle/>
        <a:p>
          <a:endParaRPr lang="ru-RU"/>
        </a:p>
      </dgm:t>
    </dgm:pt>
    <dgm:pt modelId="{60EC2062-01E3-48EB-9DAC-D3256DD7CF5F}">
      <dgm:prSet phldrT="[Текст]" custT="1"/>
      <dgm:spPr>
        <a:solidFill>
          <a:schemeClr val="bg1"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800" dirty="0" smtClean="0"/>
            <a:t>Оценка эффективности налоговых расходов</a:t>
          </a:r>
        </a:p>
      </dgm:t>
    </dgm:pt>
    <dgm:pt modelId="{D5AB6C50-CF10-47E0-9F0C-8D344EFCD4A7}" type="parTrans" cxnId="{F879977E-9960-40C6-A9A5-71D3969A2930}">
      <dgm:prSet/>
      <dgm:spPr/>
      <dgm:t>
        <a:bodyPr/>
        <a:lstStyle/>
        <a:p>
          <a:endParaRPr lang="ru-RU"/>
        </a:p>
      </dgm:t>
    </dgm:pt>
    <dgm:pt modelId="{F7CBC8F4-197A-466C-8804-D107C1F28AA2}" type="sibTrans" cxnId="{F879977E-9960-40C6-A9A5-71D3969A2930}">
      <dgm:prSet/>
      <dgm:spPr/>
      <dgm:t>
        <a:bodyPr/>
        <a:lstStyle/>
        <a:p>
          <a:endParaRPr lang="ru-RU"/>
        </a:p>
      </dgm:t>
    </dgm:pt>
    <dgm:pt modelId="{F65FB171-2351-4A0A-8575-13A5D12CBC21}">
      <dgm:prSet phldrT="[Текст]" custT="1"/>
      <dgm:spPr>
        <a:solidFill>
          <a:schemeClr val="bg1"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800" dirty="0" smtClean="0"/>
            <a:t>Совершенствование администрирования налоговых и неналоговых доходов</a:t>
          </a:r>
        </a:p>
      </dgm:t>
    </dgm:pt>
    <dgm:pt modelId="{200FE0BD-FC0E-44C7-A95C-F3D011106A1A}" type="parTrans" cxnId="{2AB54CF7-1BB5-4E35-B3A5-9EB57C5C38F8}">
      <dgm:prSet/>
      <dgm:spPr/>
      <dgm:t>
        <a:bodyPr/>
        <a:lstStyle/>
        <a:p>
          <a:endParaRPr lang="ru-RU"/>
        </a:p>
      </dgm:t>
    </dgm:pt>
    <dgm:pt modelId="{320C8B3F-F1FA-48A0-82A0-2C97A390EA1C}" type="sibTrans" cxnId="{2AB54CF7-1BB5-4E35-B3A5-9EB57C5C38F8}">
      <dgm:prSet/>
      <dgm:spPr/>
      <dgm:t>
        <a:bodyPr/>
        <a:lstStyle/>
        <a:p>
          <a:endParaRPr lang="ru-RU"/>
        </a:p>
      </dgm:t>
    </dgm:pt>
    <dgm:pt modelId="{D5F9AD14-B274-4731-B4D6-1A7281AF1636}">
      <dgm:prSet phldrT="[Текст]" custT="1"/>
      <dgm:spPr>
        <a:solidFill>
          <a:schemeClr val="bg1"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800" dirty="0" smtClean="0"/>
            <a:t>Повышение эффективности управления муниципальными активами</a:t>
          </a:r>
        </a:p>
      </dgm:t>
    </dgm:pt>
    <dgm:pt modelId="{CEFE874C-CB01-45B1-87DA-CABB662BFF9E}" type="parTrans" cxnId="{A6240193-BAF0-4196-B091-34602D4AEE53}">
      <dgm:prSet/>
      <dgm:spPr/>
      <dgm:t>
        <a:bodyPr/>
        <a:lstStyle/>
        <a:p>
          <a:endParaRPr lang="ru-RU"/>
        </a:p>
      </dgm:t>
    </dgm:pt>
    <dgm:pt modelId="{505115CD-5E4C-4C27-B7AE-8A2B053D02D7}" type="sibTrans" cxnId="{A6240193-BAF0-4196-B091-34602D4AEE53}">
      <dgm:prSet/>
      <dgm:spPr/>
      <dgm:t>
        <a:bodyPr/>
        <a:lstStyle/>
        <a:p>
          <a:endParaRPr lang="ru-RU"/>
        </a:p>
      </dgm:t>
    </dgm:pt>
    <dgm:pt modelId="{6BCE3F0D-D018-45A7-9D3D-E024067599BA}" type="pres">
      <dgm:prSet presAssocID="{51FE9D51-8B5D-4A66-A743-9EECF92DACC0}" presName="compositeShape" presStyleCnt="0">
        <dgm:presLayoutVars>
          <dgm:dir/>
          <dgm:resizeHandles/>
        </dgm:presLayoutVars>
      </dgm:prSet>
      <dgm:spPr/>
    </dgm:pt>
    <dgm:pt modelId="{86D3E103-8A36-45DC-B5C3-CF22D009CA52}" type="pres">
      <dgm:prSet presAssocID="{51FE9D51-8B5D-4A66-A743-9EECF92DACC0}" presName="pyramid" presStyleLbl="node1" presStyleIdx="0" presStyleCnt="1"/>
      <dgm:spPr>
        <a:noFill/>
        <a:ln>
          <a:noFill/>
        </a:ln>
        <a:scene3d>
          <a:camera prst="orthographicFront"/>
          <a:lightRig rig="threePt" dir="t"/>
        </a:scene3d>
        <a:sp3d>
          <a:bevelT/>
        </a:sp3d>
      </dgm:spPr>
    </dgm:pt>
    <dgm:pt modelId="{9E398727-EE73-4DB4-A582-3AFBF7DF8B64}" type="pres">
      <dgm:prSet presAssocID="{51FE9D51-8B5D-4A66-A743-9EECF92DACC0}" presName="theList" presStyleCnt="0"/>
      <dgm:spPr/>
    </dgm:pt>
    <dgm:pt modelId="{3CF70D70-AE55-4C94-8AFA-BB59D843C24B}" type="pres">
      <dgm:prSet presAssocID="{634A7CCD-4A3E-4375-8B02-58FCFD4E7809}" presName="aNode" presStyleLbl="fgAcc1" presStyleIdx="0" presStyleCnt="4" custScaleX="136270" custLinFactNeighborX="-7080" custLinFactNeighborY="-5652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822CC1-2B13-45F4-98AD-F6DA9208CA8C}" type="pres">
      <dgm:prSet presAssocID="{634A7CCD-4A3E-4375-8B02-58FCFD4E7809}" presName="aSpace" presStyleCnt="0"/>
      <dgm:spPr/>
    </dgm:pt>
    <dgm:pt modelId="{26D55FEB-4075-445C-B970-88647CC17B89}" type="pres">
      <dgm:prSet presAssocID="{60EC2062-01E3-48EB-9DAC-D3256DD7CF5F}" presName="aNode" presStyleLbl="fgAcc1" presStyleIdx="1" presStyleCnt="4" custScaleX="138294" custLinFactNeighborX="-6893" custLinFactNeighborY="3296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C26C76-7FC1-4A4A-B832-E4F9E11E3257}" type="pres">
      <dgm:prSet presAssocID="{60EC2062-01E3-48EB-9DAC-D3256DD7CF5F}" presName="aSpace" presStyleCnt="0"/>
      <dgm:spPr/>
    </dgm:pt>
    <dgm:pt modelId="{4E953DC2-6933-4277-B628-047DB8510980}" type="pres">
      <dgm:prSet presAssocID="{F65FB171-2351-4A0A-8575-13A5D12CBC21}" presName="aNode" presStyleLbl="fgAcc1" presStyleIdx="2" presStyleCnt="4" custScaleX="138938" custLinFactY="4764" custLinFactNeighborX="-6437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B9505B-9C59-41AC-9E29-B82F51D61071}" type="pres">
      <dgm:prSet presAssocID="{F65FB171-2351-4A0A-8575-13A5D12CBC21}" presName="aSpace" presStyleCnt="0"/>
      <dgm:spPr/>
    </dgm:pt>
    <dgm:pt modelId="{6C7978A6-8AEA-4A05-ABB1-78B7426E7812}" type="pres">
      <dgm:prSet presAssocID="{D5F9AD14-B274-4731-B4D6-1A7281AF1636}" presName="aNode" presStyleLbl="fgAcc1" presStyleIdx="3" presStyleCnt="4" custScaleX="140226" custLinFactY="17321" custLinFactNeighborX="-5793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619701-BB4F-43EA-B6FD-BEE613CDC2CC}" type="pres">
      <dgm:prSet presAssocID="{D5F9AD14-B274-4731-B4D6-1A7281AF1636}" presName="aSpace" presStyleCnt="0"/>
      <dgm:spPr/>
    </dgm:pt>
  </dgm:ptLst>
  <dgm:cxnLst>
    <dgm:cxn modelId="{F879977E-9960-40C6-A9A5-71D3969A2930}" srcId="{51FE9D51-8B5D-4A66-A743-9EECF92DACC0}" destId="{60EC2062-01E3-48EB-9DAC-D3256DD7CF5F}" srcOrd="1" destOrd="0" parTransId="{D5AB6C50-CF10-47E0-9F0C-8D344EFCD4A7}" sibTransId="{F7CBC8F4-197A-466C-8804-D107C1F28AA2}"/>
    <dgm:cxn modelId="{2AB54CF7-1BB5-4E35-B3A5-9EB57C5C38F8}" srcId="{51FE9D51-8B5D-4A66-A743-9EECF92DACC0}" destId="{F65FB171-2351-4A0A-8575-13A5D12CBC21}" srcOrd="2" destOrd="0" parTransId="{200FE0BD-FC0E-44C7-A95C-F3D011106A1A}" sibTransId="{320C8B3F-F1FA-48A0-82A0-2C97A390EA1C}"/>
    <dgm:cxn modelId="{1C58C428-9D9A-442F-8A59-4FAA700B497F}" type="presOf" srcId="{D5F9AD14-B274-4731-B4D6-1A7281AF1636}" destId="{6C7978A6-8AEA-4A05-ABB1-78B7426E7812}" srcOrd="0" destOrd="0" presId="urn:microsoft.com/office/officeart/2005/8/layout/pyramid2"/>
    <dgm:cxn modelId="{A6240193-BAF0-4196-B091-34602D4AEE53}" srcId="{51FE9D51-8B5D-4A66-A743-9EECF92DACC0}" destId="{D5F9AD14-B274-4731-B4D6-1A7281AF1636}" srcOrd="3" destOrd="0" parTransId="{CEFE874C-CB01-45B1-87DA-CABB662BFF9E}" sibTransId="{505115CD-5E4C-4C27-B7AE-8A2B053D02D7}"/>
    <dgm:cxn modelId="{8863320C-ADCF-47FB-BF2B-FFBF237218F4}" type="presOf" srcId="{F65FB171-2351-4A0A-8575-13A5D12CBC21}" destId="{4E953DC2-6933-4277-B628-047DB8510980}" srcOrd="0" destOrd="0" presId="urn:microsoft.com/office/officeart/2005/8/layout/pyramid2"/>
    <dgm:cxn modelId="{556EB4FB-FE08-4A95-90EB-9F2C5D71087E}" type="presOf" srcId="{60EC2062-01E3-48EB-9DAC-D3256DD7CF5F}" destId="{26D55FEB-4075-445C-B970-88647CC17B89}" srcOrd="0" destOrd="0" presId="urn:microsoft.com/office/officeart/2005/8/layout/pyramid2"/>
    <dgm:cxn modelId="{D796E519-9392-42A3-90D7-A87E340C84B3}" type="presOf" srcId="{51FE9D51-8B5D-4A66-A743-9EECF92DACC0}" destId="{6BCE3F0D-D018-45A7-9D3D-E024067599BA}" srcOrd="0" destOrd="0" presId="urn:microsoft.com/office/officeart/2005/8/layout/pyramid2"/>
    <dgm:cxn modelId="{AD033AC1-E95B-4618-B6F2-F89EB9363250}" type="presOf" srcId="{634A7CCD-4A3E-4375-8B02-58FCFD4E7809}" destId="{3CF70D70-AE55-4C94-8AFA-BB59D843C24B}" srcOrd="0" destOrd="0" presId="urn:microsoft.com/office/officeart/2005/8/layout/pyramid2"/>
    <dgm:cxn modelId="{BEF4B3FF-8755-4620-9650-271226CB9961}" srcId="{51FE9D51-8B5D-4A66-A743-9EECF92DACC0}" destId="{634A7CCD-4A3E-4375-8B02-58FCFD4E7809}" srcOrd="0" destOrd="0" parTransId="{D58B3B5C-AD67-404E-BF25-CA72B7CF6567}" sibTransId="{E50723EE-6094-403D-A9BA-0462E1AC6FD2}"/>
    <dgm:cxn modelId="{9E642F3C-D66B-4AB7-8124-50D63FEB9506}" type="presParOf" srcId="{6BCE3F0D-D018-45A7-9D3D-E024067599BA}" destId="{86D3E103-8A36-45DC-B5C3-CF22D009CA52}" srcOrd="0" destOrd="0" presId="urn:microsoft.com/office/officeart/2005/8/layout/pyramid2"/>
    <dgm:cxn modelId="{DFF8544C-F6C8-4495-A63C-93E5193D4722}" type="presParOf" srcId="{6BCE3F0D-D018-45A7-9D3D-E024067599BA}" destId="{9E398727-EE73-4DB4-A582-3AFBF7DF8B64}" srcOrd="1" destOrd="0" presId="urn:microsoft.com/office/officeart/2005/8/layout/pyramid2"/>
    <dgm:cxn modelId="{7A4FBF10-C5C9-4DEF-AE12-1838713ACCA3}" type="presParOf" srcId="{9E398727-EE73-4DB4-A582-3AFBF7DF8B64}" destId="{3CF70D70-AE55-4C94-8AFA-BB59D843C24B}" srcOrd="0" destOrd="0" presId="urn:microsoft.com/office/officeart/2005/8/layout/pyramid2"/>
    <dgm:cxn modelId="{EBFED6F0-7E35-4A5B-AE4E-33E5E5F718C8}" type="presParOf" srcId="{9E398727-EE73-4DB4-A582-3AFBF7DF8B64}" destId="{8D822CC1-2B13-45F4-98AD-F6DA9208CA8C}" srcOrd="1" destOrd="0" presId="urn:microsoft.com/office/officeart/2005/8/layout/pyramid2"/>
    <dgm:cxn modelId="{98F91EFA-8E2B-40D8-8DF9-593D060FBDDC}" type="presParOf" srcId="{9E398727-EE73-4DB4-A582-3AFBF7DF8B64}" destId="{26D55FEB-4075-445C-B970-88647CC17B89}" srcOrd="2" destOrd="0" presId="urn:microsoft.com/office/officeart/2005/8/layout/pyramid2"/>
    <dgm:cxn modelId="{B027ACF5-87B5-4A75-90E3-58C5E4D6501F}" type="presParOf" srcId="{9E398727-EE73-4DB4-A582-3AFBF7DF8B64}" destId="{55C26C76-7FC1-4A4A-B832-E4F9E11E3257}" srcOrd="3" destOrd="0" presId="urn:microsoft.com/office/officeart/2005/8/layout/pyramid2"/>
    <dgm:cxn modelId="{EFE349AB-1497-4D7A-B570-1C48502C8E35}" type="presParOf" srcId="{9E398727-EE73-4DB4-A582-3AFBF7DF8B64}" destId="{4E953DC2-6933-4277-B628-047DB8510980}" srcOrd="4" destOrd="0" presId="urn:microsoft.com/office/officeart/2005/8/layout/pyramid2"/>
    <dgm:cxn modelId="{15F59F19-4777-4D90-B50B-D3AD3CBA1757}" type="presParOf" srcId="{9E398727-EE73-4DB4-A582-3AFBF7DF8B64}" destId="{73B9505B-9C59-41AC-9E29-B82F51D61071}" srcOrd="5" destOrd="0" presId="urn:microsoft.com/office/officeart/2005/8/layout/pyramid2"/>
    <dgm:cxn modelId="{4FEEE25B-4458-444A-9B28-04BD39960EA8}" type="presParOf" srcId="{9E398727-EE73-4DB4-A582-3AFBF7DF8B64}" destId="{6C7978A6-8AEA-4A05-ABB1-78B7426E7812}" srcOrd="6" destOrd="0" presId="urn:microsoft.com/office/officeart/2005/8/layout/pyramid2"/>
    <dgm:cxn modelId="{77453642-05D8-4532-8B80-DF92A442CB6C}" type="presParOf" srcId="{9E398727-EE73-4DB4-A582-3AFBF7DF8B64}" destId="{74619701-BB4F-43EA-B6FD-BEE613CDC2CC}" srcOrd="7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D3E103-8A36-45DC-B5C3-CF22D009CA52}">
      <dsp:nvSpPr>
        <dsp:cNvPr id="0" name=""/>
        <dsp:cNvSpPr/>
      </dsp:nvSpPr>
      <dsp:spPr>
        <a:xfrm>
          <a:off x="68006" y="0"/>
          <a:ext cx="4371975" cy="4371975"/>
        </a:xfrm>
        <a:prstGeom prst="triangle">
          <a:avLst/>
        </a:prstGeom>
        <a:noFill/>
        <a:ln w="15875" cap="flat" cmpd="sng" algn="ctr">
          <a:noFill/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F70D70-AE55-4C94-8AFA-BB59D843C24B}">
      <dsp:nvSpPr>
        <dsp:cNvPr id="0" name=""/>
        <dsp:cNvSpPr/>
      </dsp:nvSpPr>
      <dsp:spPr>
        <a:xfrm>
          <a:off x="1771365" y="398334"/>
          <a:ext cx="4038885" cy="1079223"/>
        </a:xfrm>
        <a:prstGeom prst="roundRect">
          <a:avLst/>
        </a:prstGeom>
        <a:solidFill>
          <a:schemeClr val="bg1">
            <a:alpha val="9000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tx1"/>
              </a:solidFill>
            </a:rPr>
            <a:t>Концентрация ресурсов на достижении результатов мероприятий муниципальных программ</a:t>
          </a:r>
          <a:endParaRPr lang="ru-RU" sz="1800" kern="1200" dirty="0"/>
        </a:p>
      </dsp:txBody>
      <dsp:txXfrm>
        <a:off x="1824048" y="451017"/>
        <a:ext cx="3933519" cy="973857"/>
      </dsp:txXfrm>
    </dsp:sp>
    <dsp:sp modelId="{26D55FEB-4075-445C-B970-88647CC17B89}">
      <dsp:nvSpPr>
        <dsp:cNvPr id="0" name=""/>
        <dsp:cNvSpPr/>
      </dsp:nvSpPr>
      <dsp:spPr>
        <a:xfrm>
          <a:off x="1771365" y="1624738"/>
          <a:ext cx="4038885" cy="689952"/>
        </a:xfrm>
        <a:prstGeom prst="roundRect">
          <a:avLst/>
        </a:prstGeom>
        <a:solidFill>
          <a:schemeClr val="bg1">
            <a:alpha val="9000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Повышение эффективности расходования бюджетных средств</a:t>
          </a:r>
        </a:p>
      </dsp:txBody>
      <dsp:txXfrm>
        <a:off x="1805046" y="1658419"/>
        <a:ext cx="3971523" cy="622590"/>
      </dsp:txXfrm>
    </dsp:sp>
    <dsp:sp modelId="{4E953DC2-6933-4277-B628-047DB8510980}">
      <dsp:nvSpPr>
        <dsp:cNvPr id="0" name=""/>
        <dsp:cNvSpPr/>
      </dsp:nvSpPr>
      <dsp:spPr>
        <a:xfrm>
          <a:off x="1793560" y="2455168"/>
          <a:ext cx="4016690" cy="689952"/>
        </a:xfrm>
        <a:prstGeom prst="roundRect">
          <a:avLst/>
        </a:prstGeom>
        <a:solidFill>
          <a:schemeClr val="bg1">
            <a:alpha val="9000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Обеспечение открытости и прозрачности бюджетного процесса</a:t>
          </a:r>
        </a:p>
      </dsp:txBody>
      <dsp:txXfrm>
        <a:off x="1827241" y="2488849"/>
        <a:ext cx="3949328" cy="622590"/>
      </dsp:txXfrm>
    </dsp:sp>
    <dsp:sp modelId="{5FA2B5B4-5747-465E-AABE-567757F1896F}">
      <dsp:nvSpPr>
        <dsp:cNvPr id="0" name=""/>
        <dsp:cNvSpPr/>
      </dsp:nvSpPr>
      <dsp:spPr>
        <a:xfrm>
          <a:off x="1783159" y="3359941"/>
          <a:ext cx="4027091" cy="689952"/>
        </a:xfrm>
        <a:prstGeom prst="roundRect">
          <a:avLst/>
        </a:prstGeom>
        <a:solidFill>
          <a:schemeClr val="bg1">
            <a:alpha val="9000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Развитие информационных технологий в сфере управления муниципальными финансами</a:t>
          </a:r>
        </a:p>
      </dsp:txBody>
      <dsp:txXfrm>
        <a:off x="1816840" y="3393622"/>
        <a:ext cx="3959729" cy="6225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D3E103-8A36-45DC-B5C3-CF22D009CA52}">
      <dsp:nvSpPr>
        <dsp:cNvPr id="0" name=""/>
        <dsp:cNvSpPr/>
      </dsp:nvSpPr>
      <dsp:spPr>
        <a:xfrm>
          <a:off x="-28812" y="0"/>
          <a:ext cx="4276725" cy="4276725"/>
        </a:xfrm>
        <a:prstGeom prst="triangle">
          <a:avLst/>
        </a:prstGeom>
        <a:noFill/>
        <a:ln w="15875" cap="flat" cmpd="sng" algn="ctr">
          <a:noFill/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F70D70-AE55-4C94-8AFA-BB59D843C24B}">
      <dsp:nvSpPr>
        <dsp:cNvPr id="0" name=""/>
        <dsp:cNvSpPr/>
      </dsp:nvSpPr>
      <dsp:spPr>
        <a:xfrm>
          <a:off x="1408605" y="374385"/>
          <a:ext cx="3788130" cy="760121"/>
        </a:xfrm>
        <a:prstGeom prst="roundRect">
          <a:avLst/>
        </a:prstGeom>
        <a:solidFill>
          <a:schemeClr val="bg1">
            <a:alpha val="9000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Поддержка инвестиционной активности хозяйствующих субъектов</a:t>
          </a:r>
          <a:endParaRPr lang="ru-RU" sz="1800" kern="1200" dirty="0"/>
        </a:p>
      </dsp:txBody>
      <dsp:txXfrm>
        <a:off x="1445711" y="411491"/>
        <a:ext cx="3713918" cy="685909"/>
      </dsp:txXfrm>
    </dsp:sp>
    <dsp:sp modelId="{26D55FEB-4075-445C-B970-88647CC17B89}">
      <dsp:nvSpPr>
        <dsp:cNvPr id="0" name=""/>
        <dsp:cNvSpPr/>
      </dsp:nvSpPr>
      <dsp:spPr>
        <a:xfrm>
          <a:off x="1385671" y="1314550"/>
          <a:ext cx="3844395" cy="760121"/>
        </a:xfrm>
        <a:prstGeom prst="roundRect">
          <a:avLst/>
        </a:prstGeom>
        <a:solidFill>
          <a:schemeClr val="bg1">
            <a:alpha val="9000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Оценка эффективности налоговых расходов</a:t>
          </a:r>
        </a:p>
      </dsp:txBody>
      <dsp:txXfrm>
        <a:off x="1422777" y="1351656"/>
        <a:ext cx="3770183" cy="685909"/>
      </dsp:txXfrm>
    </dsp:sp>
    <dsp:sp modelId="{4E953DC2-6933-4277-B628-047DB8510980}">
      <dsp:nvSpPr>
        <dsp:cNvPr id="0" name=""/>
        <dsp:cNvSpPr/>
      </dsp:nvSpPr>
      <dsp:spPr>
        <a:xfrm>
          <a:off x="1389396" y="2269589"/>
          <a:ext cx="3862297" cy="760121"/>
        </a:xfrm>
        <a:prstGeom prst="roundRect">
          <a:avLst/>
        </a:prstGeom>
        <a:solidFill>
          <a:schemeClr val="bg1">
            <a:alpha val="9000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Совершенствование администрирования налоговых и неналоговых доходов</a:t>
          </a:r>
        </a:p>
      </dsp:txBody>
      <dsp:txXfrm>
        <a:off x="1426502" y="2306695"/>
        <a:ext cx="3788085" cy="685909"/>
      </dsp:txXfrm>
    </dsp:sp>
    <dsp:sp modelId="{6C7978A6-8AEA-4A05-ABB1-78B7426E7812}">
      <dsp:nvSpPr>
        <dsp:cNvPr id="0" name=""/>
        <dsp:cNvSpPr/>
      </dsp:nvSpPr>
      <dsp:spPr>
        <a:xfrm>
          <a:off x="1389396" y="3220174"/>
          <a:ext cx="3898102" cy="760121"/>
        </a:xfrm>
        <a:prstGeom prst="roundRect">
          <a:avLst/>
        </a:prstGeom>
        <a:solidFill>
          <a:schemeClr val="bg1">
            <a:alpha val="9000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Повышение эффективности управления муниципальными активами</a:t>
          </a:r>
        </a:p>
      </dsp:txBody>
      <dsp:txXfrm>
        <a:off x="1426502" y="3257280"/>
        <a:ext cx="3823890" cy="6859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8868</cdr:x>
      <cdr:y>0.72664</cdr:y>
    </cdr:from>
    <cdr:to>
      <cdr:x>0.79623</cdr:x>
      <cdr:y>0.8355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77440" y="2390140"/>
          <a:ext cx="838200" cy="3581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dirty="0" smtClean="0"/>
            <a:t>63%</a:t>
          </a:r>
          <a:endParaRPr lang="ru-RU" sz="1400" b="1" dirty="0"/>
        </a:p>
      </cdr:txBody>
    </cdr:sp>
  </cdr:relSizeAnchor>
  <cdr:relSizeAnchor xmlns:cdr="http://schemas.openxmlformats.org/drawingml/2006/chartDrawing">
    <cdr:from>
      <cdr:x>0.10943</cdr:x>
      <cdr:y>0.84015</cdr:y>
    </cdr:from>
    <cdr:to>
      <cdr:x>0.21698</cdr:x>
      <cdr:y>0.9166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441960" y="2763520"/>
          <a:ext cx="434340" cy="2514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200" b="1" dirty="0"/>
        </a:p>
      </cdr:txBody>
    </cdr:sp>
  </cdr:relSizeAnchor>
  <cdr:relSizeAnchor xmlns:cdr="http://schemas.openxmlformats.org/drawingml/2006/chartDrawing">
    <cdr:from>
      <cdr:x>0.14717</cdr:x>
      <cdr:y>0.54363</cdr:y>
    </cdr:from>
    <cdr:to>
      <cdr:x>0.32264</cdr:x>
      <cdr:y>0.66873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594360" y="1788160"/>
          <a:ext cx="708660" cy="4114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dirty="0" smtClean="0"/>
            <a:t>13%</a:t>
          </a:r>
          <a:endParaRPr lang="ru-RU" sz="1400" b="1" dirty="0"/>
        </a:p>
      </cdr:txBody>
    </cdr:sp>
  </cdr:relSizeAnchor>
  <cdr:relSizeAnchor xmlns:cdr="http://schemas.openxmlformats.org/drawingml/2006/chartDrawing">
    <cdr:from>
      <cdr:x>0.24528</cdr:x>
      <cdr:y>0.16834</cdr:y>
    </cdr:from>
    <cdr:to>
      <cdr:x>0.4434</cdr:x>
      <cdr:y>0.28649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990600" y="553720"/>
          <a:ext cx="800100" cy="3886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dirty="0" smtClean="0"/>
            <a:t>11%</a:t>
          </a:r>
          <a:endParaRPr lang="ru-RU" sz="1400" b="1" dirty="0"/>
        </a:p>
      </cdr:txBody>
    </cdr:sp>
  </cdr:relSizeAnchor>
  <cdr:relSizeAnchor xmlns:cdr="http://schemas.openxmlformats.org/drawingml/2006/chartDrawing">
    <cdr:from>
      <cdr:x>0.41887</cdr:x>
      <cdr:y>0</cdr:y>
    </cdr:from>
    <cdr:to>
      <cdr:x>0.5717</cdr:x>
      <cdr:y>0.11915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691640" y="0"/>
          <a:ext cx="617220" cy="4149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dirty="0" smtClean="0"/>
            <a:t>2%</a:t>
          </a:r>
          <a:endParaRPr lang="ru-RU" sz="1400" b="1" dirty="0"/>
        </a:p>
      </cdr:txBody>
    </cdr:sp>
  </cdr:relSizeAnchor>
  <cdr:relSizeAnchor xmlns:cdr="http://schemas.openxmlformats.org/drawingml/2006/chartDrawing">
    <cdr:from>
      <cdr:x>0.16543</cdr:x>
      <cdr:y>0.82147</cdr:y>
    </cdr:from>
    <cdr:to>
      <cdr:x>0.38104</cdr:x>
      <cdr:y>0.8915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678180" y="2860655"/>
          <a:ext cx="883920" cy="2438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200" b="1" dirty="0" smtClean="0"/>
            <a:t>1%</a:t>
          </a:r>
          <a:endParaRPr lang="ru-RU" sz="1200" b="1" dirty="0"/>
        </a:p>
      </cdr:txBody>
    </cdr:sp>
  </cdr:relSizeAnchor>
  <cdr:relSizeAnchor xmlns:cdr="http://schemas.openxmlformats.org/drawingml/2006/chartDrawing">
    <cdr:from>
      <cdr:x>0.13011</cdr:x>
      <cdr:y>0.3729</cdr:y>
    </cdr:from>
    <cdr:to>
      <cdr:x>0.37175</cdr:x>
      <cdr:y>0.51294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533400" y="1298555"/>
          <a:ext cx="990600" cy="4876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400" b="1" dirty="0" smtClean="0"/>
            <a:t>10%</a:t>
          </a:r>
          <a:endParaRPr lang="ru-RU" sz="1400" b="1" dirty="0"/>
        </a:p>
      </cdr:txBody>
    </cdr:sp>
  </cdr:relSizeAnchor>
  <cdr:relSizeAnchor xmlns:cdr="http://schemas.openxmlformats.org/drawingml/2006/chartDrawing">
    <cdr:from>
      <cdr:x>0.36245</cdr:x>
      <cdr:y>0.47355</cdr:y>
    </cdr:from>
    <cdr:to>
      <cdr:x>0.64312</cdr:x>
      <cdr:y>0.6508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1485900" y="1649075"/>
          <a:ext cx="1150620" cy="6172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2800" b="1" dirty="0" smtClean="0"/>
            <a:t>1583</a:t>
          </a:r>
          <a:endParaRPr lang="ru-RU" sz="2800" b="1" dirty="0"/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35402</cdr:x>
      <cdr:y>0.44507</cdr:y>
    </cdr:from>
    <cdr:to>
      <cdr:x>0.42173</cdr:x>
      <cdr:y>0.5092</cdr:y>
    </cdr:to>
    <cdr:sp macro="" textlink="">
      <cdr:nvSpPr>
        <cdr:cNvPr id="3" name="TextBox 10"/>
        <cdr:cNvSpPr txBox="1"/>
      </cdr:nvSpPr>
      <cdr:spPr>
        <a:xfrm xmlns:a="http://schemas.openxmlformats.org/drawingml/2006/main">
          <a:off x="3237159" y="2776737"/>
          <a:ext cx="619140" cy="4001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9pPr>
        </a:lstStyle>
        <a:p xmlns:a="http://schemas.openxmlformats.org/drawingml/2006/main">
          <a:endParaRPr lang="ru-RU" sz="2000" b="1" dirty="0">
            <a:solidFill>
              <a:srgbClr val="2D2D8A">
                <a:lumMod val="75000"/>
              </a:srgbClr>
            </a:solidFill>
            <a:latin typeface="Arial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8868</cdr:x>
      <cdr:y>0.72416</cdr:y>
    </cdr:from>
    <cdr:to>
      <cdr:x>0.68815</cdr:x>
      <cdr:y>0.7970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574816" y="3180695"/>
          <a:ext cx="435084" cy="32004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400" b="1" dirty="0"/>
        </a:p>
      </cdr:txBody>
    </cdr:sp>
  </cdr:relSizeAnchor>
  <cdr:relSizeAnchor xmlns:cdr="http://schemas.openxmlformats.org/drawingml/2006/chartDrawing">
    <cdr:from>
      <cdr:x>0.10943</cdr:x>
      <cdr:y>0.84015</cdr:y>
    </cdr:from>
    <cdr:to>
      <cdr:x>0.21698</cdr:x>
      <cdr:y>0.9166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441960" y="2763520"/>
          <a:ext cx="434340" cy="2514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200" b="1" dirty="0"/>
        </a:p>
      </cdr:txBody>
    </cdr:sp>
  </cdr:relSizeAnchor>
  <cdr:relSizeAnchor xmlns:cdr="http://schemas.openxmlformats.org/drawingml/2006/chartDrawing">
    <cdr:from>
      <cdr:x>0.14717</cdr:x>
      <cdr:y>0.54363</cdr:y>
    </cdr:from>
    <cdr:to>
      <cdr:x>0.32264</cdr:x>
      <cdr:y>0.66873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594360" y="1788160"/>
          <a:ext cx="708660" cy="4114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400" b="1" dirty="0"/>
        </a:p>
      </cdr:txBody>
    </cdr:sp>
  </cdr:relSizeAnchor>
  <cdr:relSizeAnchor xmlns:cdr="http://schemas.openxmlformats.org/drawingml/2006/chartDrawing">
    <cdr:from>
      <cdr:x>0.24528</cdr:x>
      <cdr:y>0.16834</cdr:y>
    </cdr:from>
    <cdr:to>
      <cdr:x>0.4434</cdr:x>
      <cdr:y>0.28649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990600" y="553720"/>
          <a:ext cx="800100" cy="3886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400" b="1" dirty="0"/>
        </a:p>
      </cdr:txBody>
    </cdr:sp>
  </cdr:relSizeAnchor>
  <cdr:relSizeAnchor xmlns:cdr="http://schemas.openxmlformats.org/drawingml/2006/chartDrawing">
    <cdr:from>
      <cdr:x>0.41887</cdr:x>
      <cdr:y>0</cdr:y>
    </cdr:from>
    <cdr:to>
      <cdr:x>0.5717</cdr:x>
      <cdr:y>0.11915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691640" y="0"/>
          <a:ext cx="617220" cy="4149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400" b="1" dirty="0"/>
        </a:p>
      </cdr:txBody>
    </cdr:sp>
  </cdr:relSizeAnchor>
  <cdr:relSizeAnchor xmlns:cdr="http://schemas.openxmlformats.org/drawingml/2006/chartDrawing">
    <cdr:from>
      <cdr:x>0.16543</cdr:x>
      <cdr:y>0.82147</cdr:y>
    </cdr:from>
    <cdr:to>
      <cdr:x>0.38104</cdr:x>
      <cdr:y>0.8915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678180" y="2860655"/>
          <a:ext cx="883920" cy="2438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200" b="1" dirty="0"/>
        </a:p>
      </cdr:txBody>
    </cdr:sp>
  </cdr:relSizeAnchor>
  <cdr:relSizeAnchor xmlns:cdr="http://schemas.openxmlformats.org/drawingml/2006/chartDrawing">
    <cdr:from>
      <cdr:x>0.13011</cdr:x>
      <cdr:y>0.3729</cdr:y>
    </cdr:from>
    <cdr:to>
      <cdr:x>0.37175</cdr:x>
      <cdr:y>0.51294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533400" y="1298555"/>
          <a:ext cx="990600" cy="4876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400" b="1" dirty="0"/>
        </a:p>
      </cdr:txBody>
    </cdr:sp>
  </cdr:relSizeAnchor>
  <cdr:relSizeAnchor xmlns:cdr="http://schemas.openxmlformats.org/drawingml/2006/chartDrawing">
    <cdr:from>
      <cdr:x>0.32332</cdr:x>
      <cdr:y>0.47355</cdr:y>
    </cdr:from>
    <cdr:to>
      <cdr:x>0.64312</cdr:x>
      <cdr:y>0.6508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1394460" y="1715790"/>
          <a:ext cx="1379265" cy="6422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2800" b="1" dirty="0" smtClean="0"/>
            <a:t>  165</a:t>
          </a:r>
          <a:endParaRPr lang="ru-RU" sz="2800" b="1" dirty="0"/>
        </a:p>
      </cdr:txBody>
    </cdr:sp>
  </cdr:relSizeAnchor>
  <cdr:relSizeAnchor xmlns:cdr="http://schemas.openxmlformats.org/drawingml/2006/chartDrawing">
    <cdr:from>
      <cdr:x>0.1446</cdr:x>
      <cdr:y>0.50036</cdr:y>
    </cdr:from>
    <cdr:to>
      <cdr:x>0.33449</cdr:x>
      <cdr:y>0.61313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632460" y="2197715"/>
          <a:ext cx="830580" cy="4953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67%</a:t>
          </a:r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70209</cdr:x>
      <cdr:y>0.51944</cdr:y>
    </cdr:from>
    <cdr:to>
      <cdr:x>0.92509</cdr:x>
      <cdr:y>0.60966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3070860" y="2281535"/>
          <a:ext cx="975360" cy="3962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3%</a:t>
          </a:r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50697</cdr:x>
      <cdr:y>0.19155</cdr:y>
    </cdr:from>
    <cdr:to>
      <cdr:x>0.66551</cdr:x>
      <cdr:y>0.28697</cdr:y>
    </cdr:to>
    <cdr:sp macro="" textlink="">
      <cdr:nvSpPr>
        <cdr:cNvPr id="13" name="TextBox 12"/>
        <cdr:cNvSpPr txBox="1"/>
      </cdr:nvSpPr>
      <cdr:spPr>
        <a:xfrm xmlns:a="http://schemas.openxmlformats.org/drawingml/2006/main">
          <a:off x="2217420" y="841355"/>
          <a:ext cx="693420" cy="4191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0%</a:t>
          </a:r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70141</cdr:x>
      <cdr:y>0.30388</cdr:y>
    </cdr:from>
    <cdr:to>
      <cdr:x>0.88676</cdr:x>
      <cdr:y>0.40841</cdr:y>
    </cdr:to>
    <cdr:sp macro="" textlink="">
      <cdr:nvSpPr>
        <cdr:cNvPr id="14" name="TextBox 13"/>
        <cdr:cNvSpPr txBox="1"/>
      </cdr:nvSpPr>
      <cdr:spPr>
        <a:xfrm xmlns:a="http://schemas.openxmlformats.org/drawingml/2006/main">
          <a:off x="3025140" y="1101029"/>
          <a:ext cx="799383" cy="3787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5%</a:t>
          </a:r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67944</cdr:x>
      <cdr:y>0.28003</cdr:y>
    </cdr:from>
    <cdr:to>
      <cdr:x>0.83275</cdr:x>
      <cdr:y>0.34596</cdr:y>
    </cdr:to>
    <cdr:sp macro="" textlink="">
      <cdr:nvSpPr>
        <cdr:cNvPr id="15" name="TextBox 14"/>
        <cdr:cNvSpPr txBox="1"/>
      </cdr:nvSpPr>
      <cdr:spPr>
        <a:xfrm xmlns:a="http://schemas.openxmlformats.org/drawingml/2006/main">
          <a:off x="2971800" y="1229975"/>
          <a:ext cx="670560" cy="2895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69866</cdr:x>
      <cdr:y>0.28172</cdr:y>
    </cdr:from>
    <cdr:to>
      <cdr:x>0.83629</cdr:x>
      <cdr:y>0.29433</cdr:y>
    </cdr:to>
    <cdr:sp macro="" textlink="">
      <cdr:nvSpPr>
        <cdr:cNvPr id="16" name="TextBox 15"/>
        <cdr:cNvSpPr txBox="1"/>
      </cdr:nvSpPr>
      <cdr:spPr>
        <a:xfrm xmlns:a="http://schemas.openxmlformats.org/drawingml/2006/main">
          <a:off x="3013245" y="1020730"/>
          <a:ext cx="593590" cy="4571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639</cdr:x>
      <cdr:y>0.21741</cdr:y>
    </cdr:from>
    <cdr:to>
      <cdr:x>0.80277</cdr:x>
      <cdr:y>0.28854</cdr:y>
    </cdr:to>
    <cdr:sp macro="" textlink="">
      <cdr:nvSpPr>
        <cdr:cNvPr id="17" name="TextBox 16"/>
        <cdr:cNvSpPr txBox="1"/>
      </cdr:nvSpPr>
      <cdr:spPr>
        <a:xfrm xmlns:a="http://schemas.openxmlformats.org/drawingml/2006/main">
          <a:off x="2755971" y="787743"/>
          <a:ext cx="706297" cy="25771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4%</a:t>
          </a:r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68021</cdr:x>
      <cdr:y>0.08356</cdr:y>
    </cdr:from>
    <cdr:to>
      <cdr:x>0.85443</cdr:x>
      <cdr:y>0.1599</cdr:y>
    </cdr:to>
    <cdr:sp macro="" textlink="">
      <cdr:nvSpPr>
        <cdr:cNvPr id="18" name="TextBox 17"/>
        <cdr:cNvSpPr txBox="1"/>
      </cdr:nvSpPr>
      <cdr:spPr>
        <a:xfrm xmlns:a="http://schemas.openxmlformats.org/drawingml/2006/main">
          <a:off x="2933700" y="302776"/>
          <a:ext cx="751380" cy="2765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%</a:t>
          </a:r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58868</cdr:x>
      <cdr:y>0.72416</cdr:y>
    </cdr:from>
    <cdr:to>
      <cdr:x>0.68815</cdr:x>
      <cdr:y>0.7970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574816" y="3180695"/>
          <a:ext cx="435084" cy="32004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400" b="1" dirty="0"/>
        </a:p>
      </cdr:txBody>
    </cdr:sp>
  </cdr:relSizeAnchor>
  <cdr:relSizeAnchor xmlns:cdr="http://schemas.openxmlformats.org/drawingml/2006/chartDrawing">
    <cdr:from>
      <cdr:x>0.10943</cdr:x>
      <cdr:y>0.84015</cdr:y>
    </cdr:from>
    <cdr:to>
      <cdr:x>0.21698</cdr:x>
      <cdr:y>0.9166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441960" y="2763520"/>
          <a:ext cx="434340" cy="2514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200" b="1" dirty="0"/>
        </a:p>
      </cdr:txBody>
    </cdr:sp>
  </cdr:relSizeAnchor>
  <cdr:relSizeAnchor xmlns:cdr="http://schemas.openxmlformats.org/drawingml/2006/chartDrawing">
    <cdr:from>
      <cdr:x>0.14717</cdr:x>
      <cdr:y>0.54363</cdr:y>
    </cdr:from>
    <cdr:to>
      <cdr:x>0.32264</cdr:x>
      <cdr:y>0.66873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594360" y="1788160"/>
          <a:ext cx="708660" cy="4114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400" b="1" dirty="0"/>
        </a:p>
      </cdr:txBody>
    </cdr:sp>
  </cdr:relSizeAnchor>
  <cdr:relSizeAnchor xmlns:cdr="http://schemas.openxmlformats.org/drawingml/2006/chartDrawing">
    <cdr:from>
      <cdr:x>0.24528</cdr:x>
      <cdr:y>0.16834</cdr:y>
    </cdr:from>
    <cdr:to>
      <cdr:x>0.4434</cdr:x>
      <cdr:y>0.28649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990600" y="553720"/>
          <a:ext cx="800100" cy="3886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400" b="1" dirty="0"/>
        </a:p>
      </cdr:txBody>
    </cdr:sp>
  </cdr:relSizeAnchor>
  <cdr:relSizeAnchor xmlns:cdr="http://schemas.openxmlformats.org/drawingml/2006/chartDrawing">
    <cdr:from>
      <cdr:x>0.41887</cdr:x>
      <cdr:y>0</cdr:y>
    </cdr:from>
    <cdr:to>
      <cdr:x>0.5717</cdr:x>
      <cdr:y>0.11915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691640" y="0"/>
          <a:ext cx="617220" cy="4149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400" b="1" dirty="0"/>
        </a:p>
      </cdr:txBody>
    </cdr:sp>
  </cdr:relSizeAnchor>
  <cdr:relSizeAnchor xmlns:cdr="http://schemas.openxmlformats.org/drawingml/2006/chartDrawing">
    <cdr:from>
      <cdr:x>0.16543</cdr:x>
      <cdr:y>0.82147</cdr:y>
    </cdr:from>
    <cdr:to>
      <cdr:x>0.38104</cdr:x>
      <cdr:y>0.8915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678180" y="2860655"/>
          <a:ext cx="883920" cy="2438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200" b="1" dirty="0"/>
        </a:p>
      </cdr:txBody>
    </cdr:sp>
  </cdr:relSizeAnchor>
  <cdr:relSizeAnchor xmlns:cdr="http://schemas.openxmlformats.org/drawingml/2006/chartDrawing">
    <cdr:from>
      <cdr:x>0.13011</cdr:x>
      <cdr:y>0.3729</cdr:y>
    </cdr:from>
    <cdr:to>
      <cdr:x>0.37175</cdr:x>
      <cdr:y>0.51294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533400" y="1298555"/>
          <a:ext cx="990600" cy="4876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400" b="1" dirty="0"/>
        </a:p>
      </cdr:txBody>
    </cdr:sp>
  </cdr:relSizeAnchor>
  <cdr:relSizeAnchor xmlns:cdr="http://schemas.openxmlformats.org/drawingml/2006/chartDrawing">
    <cdr:from>
      <cdr:x>0.33206</cdr:x>
      <cdr:y>0.47355</cdr:y>
    </cdr:from>
    <cdr:to>
      <cdr:x>0.64312</cdr:x>
      <cdr:y>0.6508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1325880" y="1928323"/>
          <a:ext cx="1242021" cy="7217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2800" b="1" dirty="0" smtClean="0"/>
            <a:t> 3383</a:t>
          </a:r>
          <a:endParaRPr lang="ru-RU" sz="2800" b="1" dirty="0"/>
        </a:p>
      </cdr:txBody>
    </cdr:sp>
  </cdr:relSizeAnchor>
  <cdr:relSizeAnchor xmlns:cdr="http://schemas.openxmlformats.org/drawingml/2006/chartDrawing">
    <cdr:from>
      <cdr:x>0.1446</cdr:x>
      <cdr:y>0.50036</cdr:y>
    </cdr:from>
    <cdr:to>
      <cdr:x>0.33449</cdr:x>
      <cdr:y>0.61313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632460" y="2197715"/>
          <a:ext cx="830580" cy="4953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70209</cdr:x>
      <cdr:y>0.51944</cdr:y>
    </cdr:from>
    <cdr:to>
      <cdr:x>0.92509</cdr:x>
      <cdr:y>0.60966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3070860" y="2281535"/>
          <a:ext cx="975360" cy="3962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50697</cdr:x>
      <cdr:y>0.19155</cdr:y>
    </cdr:from>
    <cdr:to>
      <cdr:x>0.66551</cdr:x>
      <cdr:y>0.28697</cdr:y>
    </cdr:to>
    <cdr:sp macro="" textlink="">
      <cdr:nvSpPr>
        <cdr:cNvPr id="13" name="TextBox 12"/>
        <cdr:cNvSpPr txBox="1"/>
      </cdr:nvSpPr>
      <cdr:spPr>
        <a:xfrm xmlns:a="http://schemas.openxmlformats.org/drawingml/2006/main">
          <a:off x="2217420" y="841355"/>
          <a:ext cx="693420" cy="4191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72125</cdr:x>
      <cdr:y>0.33728</cdr:y>
    </cdr:from>
    <cdr:to>
      <cdr:x>0.88676</cdr:x>
      <cdr:y>0.40841</cdr:y>
    </cdr:to>
    <cdr:sp macro="" textlink="">
      <cdr:nvSpPr>
        <cdr:cNvPr id="14" name="TextBox 13"/>
        <cdr:cNvSpPr txBox="1"/>
      </cdr:nvSpPr>
      <cdr:spPr>
        <a:xfrm xmlns:a="http://schemas.openxmlformats.org/drawingml/2006/main">
          <a:off x="3154680" y="1481435"/>
          <a:ext cx="723900" cy="3124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67944</cdr:x>
      <cdr:y>0.28003</cdr:y>
    </cdr:from>
    <cdr:to>
      <cdr:x>0.83275</cdr:x>
      <cdr:y>0.34596</cdr:y>
    </cdr:to>
    <cdr:sp macro="" textlink="">
      <cdr:nvSpPr>
        <cdr:cNvPr id="15" name="TextBox 14"/>
        <cdr:cNvSpPr txBox="1"/>
      </cdr:nvSpPr>
      <cdr:spPr>
        <a:xfrm xmlns:a="http://schemas.openxmlformats.org/drawingml/2006/main">
          <a:off x="2971800" y="1229975"/>
          <a:ext cx="670560" cy="2895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69512</cdr:x>
      <cdr:y>0.25227</cdr:y>
    </cdr:from>
    <cdr:to>
      <cdr:x>0.83275</cdr:x>
      <cdr:y>0.34769</cdr:y>
    </cdr:to>
    <cdr:sp macro="" textlink="">
      <cdr:nvSpPr>
        <cdr:cNvPr id="16" name="TextBox 15"/>
        <cdr:cNvSpPr txBox="1"/>
      </cdr:nvSpPr>
      <cdr:spPr>
        <a:xfrm xmlns:a="http://schemas.openxmlformats.org/drawingml/2006/main">
          <a:off x="3040380" y="1108055"/>
          <a:ext cx="601980" cy="4191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66551</cdr:x>
      <cdr:y>0.26789</cdr:y>
    </cdr:from>
    <cdr:to>
      <cdr:x>0.82927</cdr:x>
      <cdr:y>0.33902</cdr:y>
    </cdr:to>
    <cdr:sp macro="" textlink="">
      <cdr:nvSpPr>
        <cdr:cNvPr id="17" name="TextBox 16"/>
        <cdr:cNvSpPr txBox="1"/>
      </cdr:nvSpPr>
      <cdr:spPr>
        <a:xfrm xmlns:a="http://schemas.openxmlformats.org/drawingml/2006/main">
          <a:off x="2910840" y="1176635"/>
          <a:ext cx="716280" cy="3124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69164</cdr:x>
      <cdr:y>0.16727</cdr:y>
    </cdr:from>
    <cdr:to>
      <cdr:x>0.86585</cdr:x>
      <cdr:y>0.2436</cdr:y>
    </cdr:to>
    <cdr:sp macro="" textlink="">
      <cdr:nvSpPr>
        <cdr:cNvPr id="18" name="TextBox 17"/>
        <cdr:cNvSpPr txBox="1"/>
      </cdr:nvSpPr>
      <cdr:spPr>
        <a:xfrm xmlns:a="http://schemas.openxmlformats.org/drawingml/2006/main">
          <a:off x="3025140" y="734675"/>
          <a:ext cx="762000" cy="3352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58206</cdr:x>
      <cdr:y>0.69289</cdr:y>
    </cdr:from>
    <cdr:to>
      <cdr:x>0.76336</cdr:x>
      <cdr:y>0.79351</cdr:y>
    </cdr:to>
    <cdr:sp macro="" textlink="">
      <cdr:nvSpPr>
        <cdr:cNvPr id="10" name="TextBox 9"/>
        <cdr:cNvSpPr txBox="1"/>
      </cdr:nvSpPr>
      <cdr:spPr>
        <a:xfrm xmlns:a="http://schemas.openxmlformats.org/drawingml/2006/main">
          <a:off x="2324100" y="3043358"/>
          <a:ext cx="723900" cy="4419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75%</a:t>
          </a:r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22519</cdr:x>
      <cdr:y>0.32163</cdr:y>
    </cdr:from>
    <cdr:to>
      <cdr:x>0.37595</cdr:x>
      <cdr:y>0.4396</cdr:y>
    </cdr:to>
    <cdr:sp macro="" textlink="">
      <cdr:nvSpPr>
        <cdr:cNvPr id="19" name="TextBox 18"/>
        <cdr:cNvSpPr txBox="1"/>
      </cdr:nvSpPr>
      <cdr:spPr>
        <a:xfrm xmlns:a="http://schemas.openxmlformats.org/drawingml/2006/main">
          <a:off x="899160" y="1412678"/>
          <a:ext cx="601980" cy="5181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22%</a:t>
          </a:r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41603</cdr:x>
      <cdr:y>0.22101</cdr:y>
    </cdr:from>
    <cdr:to>
      <cdr:x>0.54771</cdr:x>
      <cdr:y>0.28867</cdr:y>
    </cdr:to>
    <cdr:sp macro="" textlink="">
      <cdr:nvSpPr>
        <cdr:cNvPr id="20" name="TextBox 19"/>
        <cdr:cNvSpPr txBox="1"/>
      </cdr:nvSpPr>
      <cdr:spPr>
        <a:xfrm xmlns:a="http://schemas.openxmlformats.org/drawingml/2006/main">
          <a:off x="1661160" y="970718"/>
          <a:ext cx="525780" cy="2971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3%</a:t>
          </a:r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2143</cdr:x>
      <cdr:y>0.54598</cdr:y>
    </cdr:from>
    <cdr:to>
      <cdr:x>1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195943" y="785423"/>
          <a:ext cx="8948057" cy="65314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endParaRPr lang="ru-RU" sz="14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16327</cdr:x>
      <cdr:y>0.51859</cdr:y>
    </cdr:from>
    <cdr:to>
      <cdr:x>0.26837</cdr:x>
      <cdr:y>0.76196</cdr:y>
    </cdr:to>
    <cdr:sp macro="" textlink="">
      <cdr:nvSpPr>
        <cdr:cNvPr id="12" name="Прямоугольник 11"/>
        <cdr:cNvSpPr/>
      </cdr:nvSpPr>
      <cdr:spPr>
        <a:xfrm xmlns:a="http://schemas.openxmlformats.org/drawingml/2006/main">
          <a:off x="1492898" y="795266"/>
          <a:ext cx="961053" cy="37322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0336</cdr:x>
      <cdr:y>0.53985</cdr:y>
    </cdr:from>
    <cdr:to>
      <cdr:x>1</cdr:x>
      <cdr:y>0.91604</cdr:y>
    </cdr:to>
    <cdr:sp macro="" textlink="">
      <cdr:nvSpPr>
        <cdr:cNvPr id="19" name="Прямоугольник 18"/>
        <cdr:cNvSpPr/>
      </cdr:nvSpPr>
      <cdr:spPr>
        <a:xfrm xmlns:a="http://schemas.openxmlformats.org/drawingml/2006/main">
          <a:off x="30724" y="776606"/>
          <a:ext cx="9113275" cy="54117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 smtClean="0"/>
        </a:p>
        <a:p xmlns:a="http://schemas.openxmlformats.org/drawingml/2006/main">
          <a:r>
            <a:rPr lang="ru-RU" sz="16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     2017             2018               2019        Оценка 2020    План 2021    План 2022     План 2023</a:t>
          </a:r>
          <a:endParaRPr lang="ru-RU" sz="16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1.09361E-7</cdr:x>
      <cdr:y>0</cdr:y>
    </cdr:from>
    <cdr:to>
      <cdr:x>0.14271</cdr:x>
      <cdr:y>0.09028</cdr:y>
    </cdr:to>
    <cdr:sp macro="" textlink="">
      <cdr:nvSpPr>
        <cdr:cNvPr id="2" name="TextBox 8"/>
        <cdr:cNvSpPr txBox="1"/>
      </cdr:nvSpPr>
      <cdr:spPr>
        <a:xfrm xmlns:a="http://schemas.openxmlformats.org/drawingml/2006/main">
          <a:off x="1" y="-2671570"/>
          <a:ext cx="1304925" cy="3693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9pPr>
        </a:lstStyle>
        <a:p xmlns:a="http://schemas.openxmlformats.org/drawingml/2006/main">
          <a:r>
            <a:rPr lang="ru-RU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млн. руб</a:t>
          </a:r>
          <a:r>
            <a:rPr lang="ru-RU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.</a:t>
          </a:r>
          <a:endParaRPr lang="ru-RU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50772</cdr:x>
      <cdr:y>0.2363</cdr:y>
    </cdr:from>
    <cdr:to>
      <cdr:x>1</cdr:x>
      <cdr:y>0.3411</cdr:y>
    </cdr:to>
    <cdr:grpSp>
      <cdr:nvGrpSpPr>
        <cdr:cNvPr id="14" name="Группа 13"/>
        <cdr:cNvGrpSpPr/>
      </cdr:nvGrpSpPr>
      <cdr:grpSpPr>
        <a:xfrm xmlns:a="http://schemas.openxmlformats.org/drawingml/2006/main">
          <a:off x="1929577" y="1072711"/>
          <a:ext cx="1870898" cy="475751"/>
          <a:chOff x="1940646" y="1352012"/>
          <a:chExt cx="1859829" cy="429053"/>
        </a:xfrm>
      </cdr:grpSpPr>
      <cdr:cxnSp macro="">
        <cdr:nvCxnSpPr>
          <cdr:cNvPr id="9" name="Прямая соединительная линия 8"/>
          <cdr:cNvCxnSpPr/>
        </cdr:nvCxnSpPr>
        <cdr:spPr>
          <a:xfrm xmlns:a="http://schemas.openxmlformats.org/drawingml/2006/main" flipV="1">
            <a:off x="2150573" y="1310581"/>
            <a:ext cx="1634662" cy="1"/>
          </a:xfrm>
          <a:prstGeom xmlns:a="http://schemas.openxmlformats.org/drawingml/2006/main" prst="line">
            <a:avLst/>
          </a:prstGeom>
          <a:ln xmlns:a="http://schemas.openxmlformats.org/drawingml/2006/main" w="50800" cap="rnd">
            <a:solidFill>
              <a:schemeClr val="accent2">
                <a:lumMod val="50000"/>
              </a:schemeClr>
            </a:solidFill>
            <a:prstDash val="sysDot"/>
          </a:ln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0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tx1"/>
          </a:fontRef>
        </cdr:style>
      </cdr:cxnSp>
      <cdr:cxnSp macro="">
        <cdr:nvCxnSpPr>
          <cdr:cNvPr id="10" name="Прямая соединительная линия 9"/>
          <cdr:cNvCxnSpPr/>
        </cdr:nvCxnSpPr>
        <cdr:spPr>
          <a:xfrm xmlns:a="http://schemas.openxmlformats.org/drawingml/2006/main">
            <a:off x="2120093" y="1329153"/>
            <a:ext cx="9712" cy="451912"/>
          </a:xfrm>
          <a:prstGeom xmlns:a="http://schemas.openxmlformats.org/drawingml/2006/main" prst="line">
            <a:avLst/>
          </a:prstGeom>
          <a:ln xmlns:a="http://schemas.openxmlformats.org/drawingml/2006/main" w="50800" cap="rnd">
            <a:solidFill>
              <a:schemeClr val="accent2">
                <a:lumMod val="50000"/>
              </a:schemeClr>
            </a:solidFill>
            <a:prstDash val="sysDot"/>
          </a:ln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0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tx1"/>
          </a:fontRef>
        </cdr:style>
      </cdr:cxnSp>
    </cdr:grp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0707</cdr:x>
      <cdr:y>0.01479</cdr:y>
    </cdr:from>
    <cdr:to>
      <cdr:x>0.34375</cdr:x>
      <cdr:y>0.09138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504825" y="76200"/>
          <a:ext cx="1115914" cy="39467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9pPr>
        </a:lstStyle>
        <a:p xmlns:a="http://schemas.openxmlformats.org/drawingml/2006/main">
          <a:pPr fontAlgn="auto">
            <a:spcBef>
              <a:spcPts val="0"/>
            </a:spcBef>
            <a:spcAft>
              <a:spcPts val="0"/>
            </a:spcAft>
            <a:defRPr/>
          </a:pPr>
          <a:r>
            <a: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cs"/>
            </a:rPr>
            <a:t>млн</a:t>
          </a:r>
          <a:r>
            <a:rPr lang="ru-RU" sz="16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cs"/>
            </a:rPr>
            <a:t>. руб</a:t>
          </a:r>
          <a:r>
            <a: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cs"/>
            </a:rPr>
            <a:t>.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9237</cdr:x>
      <cdr:y>0.26992</cdr:y>
    </cdr:from>
    <cdr:to>
      <cdr:x>0.51352</cdr:x>
      <cdr:y>0.4357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903323" y="1216476"/>
          <a:ext cx="1508054" cy="7471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 rtl="0" fontAlgn="base">
            <a:spcBef>
              <a:spcPct val="0"/>
            </a:spcBef>
            <a:spcAft>
              <a:spcPct val="0"/>
            </a:spcAft>
          </a:pPr>
          <a:r>
            <a:rPr lang="ru-RU" sz="2000" b="1" dirty="0" smtClean="0">
              <a:solidFill>
                <a:schemeClr val="accent6">
                  <a:lumMod val="50000"/>
                </a:schemeClr>
              </a:solidFill>
              <a:latin typeface="Arial Cyr" panose="020B0604020202020204" pitchFamily="34" charset="0"/>
              <a:cs typeface="Arial Cyr" panose="020B0604020202020204" pitchFamily="34" charset="0"/>
            </a:rPr>
            <a:t>  1 096,0</a:t>
          </a:r>
          <a:r>
            <a:rPr lang="ru-RU" sz="2000" b="1" kern="1200" dirty="0" smtClean="0">
              <a:solidFill>
                <a:schemeClr val="accent6">
                  <a:lumMod val="50000"/>
                </a:schemeClr>
              </a:solidFill>
              <a:cs typeface="Arial" charset="0"/>
            </a:rPr>
            <a:t>  </a:t>
          </a:r>
          <a:endParaRPr lang="ru-RU" sz="2000" b="1" kern="1200" dirty="0">
            <a:solidFill>
              <a:schemeClr val="accent6">
                <a:lumMod val="50000"/>
              </a:schemeClr>
            </a:solidFill>
            <a:cs typeface="Arial" charset="0"/>
          </a:endParaRPr>
        </a:p>
        <a:p xmlns:a="http://schemas.openxmlformats.org/drawingml/2006/main">
          <a:pPr algn="ctr" rtl="0" fontAlgn="base">
            <a:spcBef>
              <a:spcPct val="0"/>
            </a:spcBef>
            <a:spcAft>
              <a:spcPct val="0"/>
            </a:spcAft>
          </a:pPr>
          <a:r>
            <a:rPr lang="ru-RU" sz="2000" b="1" kern="1200" dirty="0">
              <a:solidFill>
                <a:schemeClr val="accent6">
                  <a:lumMod val="50000"/>
                </a:schemeClr>
              </a:solidFill>
              <a:cs typeface="Arial" charset="0"/>
            </a:rPr>
            <a:t>     </a:t>
          </a:r>
          <a:r>
            <a:rPr lang="ru-RU" sz="2000" b="1" kern="1200" dirty="0" smtClean="0">
              <a:solidFill>
                <a:schemeClr val="accent6">
                  <a:lumMod val="50000"/>
                </a:schemeClr>
              </a:solidFill>
              <a:cs typeface="Arial" charset="0"/>
            </a:rPr>
            <a:t>21%</a:t>
          </a:r>
          <a:endParaRPr lang="ru-RU" sz="2000" b="1" kern="1200" dirty="0">
            <a:solidFill>
              <a:schemeClr val="accent6">
                <a:lumMod val="50000"/>
              </a:schemeClr>
            </a:solidFill>
            <a:cs typeface="Arial" charset="0"/>
          </a:endParaRP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27744</cdr:x>
      <cdr:y>0.18312</cdr:y>
    </cdr:from>
    <cdr:to>
      <cdr:x>0.38187</cdr:x>
      <cdr:y>0.2298</cdr:y>
    </cdr:to>
    <cdr:sp macro="" textlink="">
      <cdr:nvSpPr>
        <cdr:cNvPr id="2" name="Скругленный прямоугольник 1"/>
        <cdr:cNvSpPr/>
      </cdr:nvSpPr>
      <cdr:spPr>
        <a:xfrm xmlns:a="http://schemas.openxmlformats.org/drawingml/2006/main">
          <a:off x="2697058" y="687229"/>
          <a:ext cx="1015172" cy="175183"/>
        </a:xfrm>
        <a:prstGeom xmlns:a="http://schemas.openxmlformats.org/drawingml/2006/main" prst="roundRect">
          <a:avLst/>
        </a:prstGeom>
        <a:solidFill xmlns:a="http://schemas.openxmlformats.org/drawingml/2006/main">
          <a:srgbClr val="FFDE75">
            <a:alpha val="80000"/>
          </a:srgb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</a:pPr>
          <a:r>
            <a: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rPr>
            <a:t>278,8</a:t>
          </a:r>
          <a:endParaRPr lang="ru-RU" sz="2400" dirty="0">
            <a:ln>
              <a:solidFill>
                <a:schemeClr val="tx1"/>
              </a:solidFill>
            </a:ln>
            <a:solidFill>
              <a:schemeClr val="tx1"/>
            </a:solidFill>
            <a:latin typeface="+mj-lt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83704</cdr:x>
      <cdr:y>0.19091</cdr:y>
    </cdr:from>
    <cdr:to>
      <cdr:x>0.94146</cdr:x>
      <cdr:y>0.23759</cdr:y>
    </cdr:to>
    <cdr:sp macro="" textlink="">
      <cdr:nvSpPr>
        <cdr:cNvPr id="3" name="Скругленный прямоугольник 2"/>
        <cdr:cNvSpPr/>
      </cdr:nvSpPr>
      <cdr:spPr>
        <a:xfrm xmlns:a="http://schemas.openxmlformats.org/drawingml/2006/main">
          <a:off x="8136904" y="792088"/>
          <a:ext cx="1015075" cy="193679"/>
        </a:xfrm>
        <a:prstGeom xmlns:a="http://schemas.openxmlformats.org/drawingml/2006/main" prst="roundRect">
          <a:avLst/>
        </a:prstGeom>
        <a:solidFill xmlns:a="http://schemas.openxmlformats.org/drawingml/2006/main">
          <a:srgbClr val="FFDE75">
            <a:alpha val="80000"/>
          </a:srgb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</a:pPr>
          <a:r>
            <a: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rPr>
            <a:t>291,3</a:t>
          </a:r>
          <a:endParaRPr lang="ru-RU" sz="1400" dirty="0">
            <a:ln>
              <a:solidFill>
                <a:schemeClr val="tx1"/>
              </a:solidFill>
            </a:ln>
            <a:solidFill>
              <a:schemeClr val="tx1"/>
            </a:solidFill>
            <a:latin typeface="+mj-lt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69235</cdr:x>
      <cdr:y>0.15366</cdr:y>
    </cdr:from>
    <cdr:to>
      <cdr:x>0.79678</cdr:x>
      <cdr:y>0.20033</cdr:y>
    </cdr:to>
    <cdr:sp macro="" textlink="">
      <cdr:nvSpPr>
        <cdr:cNvPr id="4" name="Скругленный прямоугольник 3"/>
        <cdr:cNvSpPr/>
      </cdr:nvSpPr>
      <cdr:spPr>
        <a:xfrm xmlns:a="http://schemas.openxmlformats.org/drawingml/2006/main">
          <a:off x="6730386" y="576670"/>
          <a:ext cx="1015172" cy="175145"/>
        </a:xfrm>
        <a:prstGeom xmlns:a="http://schemas.openxmlformats.org/drawingml/2006/main" prst="roundRect">
          <a:avLst/>
        </a:prstGeom>
        <a:solidFill xmlns:a="http://schemas.openxmlformats.org/drawingml/2006/main">
          <a:srgbClr val="FFDE75">
            <a:alpha val="80000"/>
          </a:srgb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</a:pPr>
          <a:r>
            <a: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rPr>
            <a:t>313,5</a:t>
          </a:r>
          <a:endParaRPr lang="ru-RU" sz="1400" dirty="0">
            <a:ln>
              <a:solidFill>
                <a:schemeClr val="tx1"/>
              </a:solidFill>
            </a:ln>
            <a:solidFill>
              <a:schemeClr val="tx1"/>
            </a:solidFill>
            <a:latin typeface="+mj-lt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6374</cdr:x>
      <cdr:y>0.16824</cdr:y>
    </cdr:from>
    <cdr:to>
      <cdr:x>0.66816</cdr:x>
      <cdr:y>0.21491</cdr:y>
    </cdr:to>
    <cdr:sp macro="" textlink="">
      <cdr:nvSpPr>
        <cdr:cNvPr id="5" name="Скругленный прямоугольник 4"/>
        <cdr:cNvSpPr/>
      </cdr:nvSpPr>
      <cdr:spPr>
        <a:xfrm xmlns:a="http://schemas.openxmlformats.org/drawingml/2006/main">
          <a:off x="5480188" y="631396"/>
          <a:ext cx="1015075" cy="175146"/>
        </a:xfrm>
        <a:prstGeom xmlns:a="http://schemas.openxmlformats.org/drawingml/2006/main" prst="roundRect">
          <a:avLst/>
        </a:prstGeom>
        <a:solidFill xmlns:a="http://schemas.openxmlformats.org/drawingml/2006/main">
          <a:srgbClr val="FFDE75">
            <a:alpha val="80000"/>
          </a:srgb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</a:pPr>
          <a:r>
            <a: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rPr>
            <a:t>288,7</a:t>
          </a:r>
          <a:endParaRPr lang="ru-RU" sz="1400" dirty="0">
            <a:ln>
              <a:solidFill>
                <a:schemeClr val="tx1"/>
              </a:solidFill>
            </a:ln>
            <a:solidFill>
              <a:schemeClr val="tx1"/>
            </a:solidFill>
            <a:latin typeface="+mj-lt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0791</cdr:x>
      <cdr:y>0.17355</cdr:y>
    </cdr:from>
    <cdr:to>
      <cdr:x>0.51233</cdr:x>
      <cdr:y>0.22023</cdr:y>
    </cdr:to>
    <cdr:sp macro="" textlink="">
      <cdr:nvSpPr>
        <cdr:cNvPr id="6" name="Скругленный прямоугольник 5"/>
        <cdr:cNvSpPr/>
      </cdr:nvSpPr>
      <cdr:spPr>
        <a:xfrm xmlns:a="http://schemas.openxmlformats.org/drawingml/2006/main">
          <a:off x="3965292" y="720080"/>
          <a:ext cx="1015076" cy="193679"/>
        </a:xfrm>
        <a:prstGeom xmlns:a="http://schemas.openxmlformats.org/drawingml/2006/main" prst="roundRect">
          <a:avLst/>
        </a:prstGeom>
        <a:solidFill xmlns:a="http://schemas.openxmlformats.org/drawingml/2006/main">
          <a:srgbClr val="FFDE75">
            <a:alpha val="80000"/>
          </a:srgb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</a:pPr>
          <a:r>
            <a: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rPr>
            <a:t>301,3</a:t>
          </a:r>
          <a:endParaRPr lang="ru-RU" dirty="0">
            <a:ln>
              <a:solidFill>
                <a:schemeClr val="tx1"/>
              </a:solidFill>
            </a:ln>
            <a:solidFill>
              <a:schemeClr val="tx1"/>
            </a:solidFill>
            <a:latin typeface="+mj-lt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6576</cdr:x>
      <cdr:y>0.77932</cdr:y>
    </cdr:from>
    <cdr:to>
      <cdr:x>0.26323</cdr:x>
      <cdr:y>0.88585</cdr:y>
    </cdr:to>
    <cdr:sp macro="" textlink="">
      <cdr:nvSpPr>
        <cdr:cNvPr id="8" name="Скругленный прямоугольник 7"/>
        <cdr:cNvSpPr/>
      </cdr:nvSpPr>
      <cdr:spPr>
        <a:xfrm xmlns:a="http://schemas.openxmlformats.org/drawingml/2006/main">
          <a:off x="639269" y="4341949"/>
          <a:ext cx="1919611" cy="593527"/>
        </a:xfrm>
        <a:prstGeom xmlns:a="http://schemas.openxmlformats.org/drawingml/2006/main" prst="roundRect">
          <a:avLst>
            <a:gd name="adj" fmla="val 32849"/>
          </a:avLst>
        </a:prstGeom>
        <a:solidFill xmlns:a="http://schemas.openxmlformats.org/drawingml/2006/main">
          <a:schemeClr val="accent6"/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800"/>
            </a:lnSpc>
            <a:defRPr/>
          </a:pPr>
          <a:r>
            <a:rPr lang="ru-RU" sz="1100" b="1" dirty="0" smtClean="0">
              <a:solidFill>
                <a:schemeClr val="tx1"/>
              </a:solidFill>
            </a:rPr>
            <a:t> Уличное </a:t>
          </a:r>
          <a:r>
            <a:rPr lang="ru-RU" sz="1100" b="1" dirty="0">
              <a:solidFill>
                <a:schemeClr val="tx1"/>
              </a:solidFill>
            </a:rPr>
            <a:t>освещение</a:t>
          </a:r>
        </a:p>
      </cdr:txBody>
    </cdr:sp>
  </cdr:relSizeAnchor>
  <cdr:relSizeAnchor xmlns:cdr="http://schemas.openxmlformats.org/drawingml/2006/chartDrawing">
    <cdr:from>
      <cdr:x>0.0666</cdr:x>
      <cdr:y>0.55168</cdr:y>
    </cdr:from>
    <cdr:to>
      <cdr:x>0.26679</cdr:x>
      <cdr:y>0.6818</cdr:y>
    </cdr:to>
    <cdr:sp macro="" textlink="">
      <cdr:nvSpPr>
        <cdr:cNvPr id="9" name="Скругленный прямоугольник 8"/>
        <cdr:cNvSpPr/>
      </cdr:nvSpPr>
      <cdr:spPr>
        <a:xfrm xmlns:a="http://schemas.openxmlformats.org/drawingml/2006/main">
          <a:off x="647377" y="2874251"/>
          <a:ext cx="1946063" cy="677919"/>
        </a:xfrm>
        <a:prstGeom xmlns:a="http://schemas.openxmlformats.org/drawingml/2006/main" prst="roundRect">
          <a:avLst>
            <a:gd name="adj" fmla="val 32849"/>
          </a:avLst>
        </a:prstGeom>
        <a:solidFill xmlns:a="http://schemas.openxmlformats.org/drawingml/2006/main">
          <a:schemeClr val="accent1">
            <a:lumMod val="60000"/>
            <a:lumOff val="40000"/>
          </a:scheme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800"/>
            </a:lnSpc>
            <a:defRPr/>
          </a:pPr>
          <a:r>
            <a:rPr lang="ru-RU" sz="1100" b="1" dirty="0" smtClean="0">
              <a:solidFill>
                <a:schemeClr val="tx1"/>
              </a:solidFill>
            </a:rPr>
            <a:t> Санитарная очистка</a:t>
          </a:r>
          <a:endParaRPr lang="ru-RU" sz="1100" b="1" dirty="0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0666</cdr:x>
      <cdr:y>0.41477</cdr:y>
    </cdr:from>
    <cdr:to>
      <cdr:x>0.26664</cdr:x>
      <cdr:y>0.50467</cdr:y>
    </cdr:to>
    <cdr:sp macro="" textlink="">
      <cdr:nvSpPr>
        <cdr:cNvPr id="10" name="Скругленный прямоугольник 9"/>
        <cdr:cNvSpPr/>
      </cdr:nvSpPr>
      <cdr:spPr>
        <a:xfrm xmlns:a="http://schemas.openxmlformats.org/drawingml/2006/main">
          <a:off x="647377" y="1556563"/>
          <a:ext cx="1944604" cy="337381"/>
        </a:xfrm>
        <a:prstGeom xmlns:a="http://schemas.openxmlformats.org/drawingml/2006/main" prst="roundRect">
          <a:avLst>
            <a:gd name="adj" fmla="val 32849"/>
          </a:avLst>
        </a:prstGeom>
        <a:solidFill xmlns:a="http://schemas.openxmlformats.org/drawingml/2006/main">
          <a:schemeClr val="accent4">
            <a:lumMod val="60000"/>
            <a:lumOff val="40000"/>
          </a:scheme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800"/>
            </a:lnSpc>
            <a:defRPr/>
          </a:pPr>
          <a:r>
            <a:rPr lang="ru-RU" sz="1100" b="1" dirty="0" smtClean="0">
              <a:solidFill>
                <a:schemeClr val="tx1"/>
              </a:solidFill>
            </a:rPr>
            <a:t> Озеленение</a:t>
          </a:r>
          <a:endParaRPr lang="ru-RU" sz="1100" b="1" dirty="0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0666</cdr:x>
      <cdr:y>0.32316</cdr:y>
    </cdr:from>
    <cdr:to>
      <cdr:x>0.2646</cdr:x>
      <cdr:y>0.4104</cdr:y>
    </cdr:to>
    <cdr:sp macro="" textlink="">
      <cdr:nvSpPr>
        <cdr:cNvPr id="11" name="Скругленный прямоугольник 10"/>
        <cdr:cNvSpPr/>
      </cdr:nvSpPr>
      <cdr:spPr>
        <a:xfrm xmlns:a="http://schemas.openxmlformats.org/drawingml/2006/main">
          <a:off x="647377" y="1212775"/>
          <a:ext cx="1924862" cy="327399"/>
        </a:xfrm>
        <a:prstGeom xmlns:a="http://schemas.openxmlformats.org/drawingml/2006/main" prst="roundRect">
          <a:avLst>
            <a:gd name="adj" fmla="val 32849"/>
          </a:avLst>
        </a:prstGeom>
        <a:solidFill xmlns:a="http://schemas.openxmlformats.org/drawingml/2006/main">
          <a:schemeClr val="tx2">
            <a:lumMod val="75000"/>
          </a:scheme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900"/>
            </a:lnSpc>
            <a:defRPr/>
          </a:pPr>
          <a:r>
            <a:rPr lang="ru-RU" sz="900" b="1" dirty="0" smtClean="0">
              <a:solidFill>
                <a:schemeClr val="tx1"/>
              </a:solidFill>
            </a:rPr>
            <a:t> </a:t>
          </a:r>
          <a:r>
            <a:rPr lang="ru-RU" sz="900" b="1" dirty="0" smtClean="0">
              <a:solidFill>
                <a:schemeClr val="bg1"/>
              </a:solidFill>
            </a:rPr>
            <a:t>Содержание мест захоронения</a:t>
          </a:r>
          <a:endParaRPr lang="ru-RU" sz="9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0666</cdr:x>
      <cdr:y>0.22917</cdr:y>
    </cdr:from>
    <cdr:to>
      <cdr:x>0.26351</cdr:x>
      <cdr:y>0.31559</cdr:y>
    </cdr:to>
    <cdr:sp macro="" textlink="">
      <cdr:nvSpPr>
        <cdr:cNvPr id="12" name="Скругленный прямоугольник 11"/>
        <cdr:cNvSpPr/>
      </cdr:nvSpPr>
      <cdr:spPr>
        <a:xfrm xmlns:a="http://schemas.openxmlformats.org/drawingml/2006/main">
          <a:off x="647424" y="1276806"/>
          <a:ext cx="1914178" cy="481490"/>
        </a:xfrm>
        <a:prstGeom xmlns:a="http://schemas.openxmlformats.org/drawingml/2006/main" prst="roundRect">
          <a:avLst>
            <a:gd name="adj" fmla="val 32849"/>
          </a:avLst>
        </a:prstGeom>
        <a:solidFill xmlns:a="http://schemas.openxmlformats.org/drawingml/2006/main">
          <a:schemeClr val="bg1">
            <a:lumMod val="95000"/>
          </a:scheme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800"/>
            </a:lnSpc>
            <a:defRPr/>
          </a:pPr>
          <a:r>
            <a:rPr lang="ru-RU" sz="1100" b="1" dirty="0" smtClean="0">
              <a:solidFill>
                <a:schemeClr val="tx1"/>
              </a:solidFill>
            </a:rPr>
            <a:t> Прочее благоустройство</a:t>
          </a:r>
          <a:endParaRPr lang="ru-RU" sz="1100" b="1" dirty="0">
            <a:solidFill>
              <a:schemeClr val="tx1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857"/>
          </a:xfrm>
          <a:prstGeom prst="rect">
            <a:avLst/>
          </a:prstGeom>
        </p:spPr>
        <p:txBody>
          <a:bodyPr vert="horz" lIns="92124" tIns="46062" rIns="92124" bIns="4606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857"/>
          </a:xfrm>
          <a:prstGeom prst="rect">
            <a:avLst/>
          </a:prstGeom>
        </p:spPr>
        <p:txBody>
          <a:bodyPr vert="horz" lIns="92124" tIns="46062" rIns="92124" bIns="4606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83BADBB-64F6-471D-B8AE-580425B7978F}" type="datetimeFigureOut">
              <a:rPr lang="ru-RU"/>
              <a:pPr>
                <a:defRPr/>
              </a:pPr>
              <a:t>09.12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197"/>
            <a:ext cx="2945659" cy="495857"/>
          </a:xfrm>
          <a:prstGeom prst="rect">
            <a:avLst/>
          </a:prstGeom>
        </p:spPr>
        <p:txBody>
          <a:bodyPr vert="horz" lIns="92124" tIns="46062" rIns="92124" bIns="4606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9197"/>
            <a:ext cx="2945659" cy="495857"/>
          </a:xfrm>
          <a:prstGeom prst="rect">
            <a:avLst/>
          </a:prstGeom>
        </p:spPr>
        <p:txBody>
          <a:bodyPr vert="horz" lIns="92124" tIns="46062" rIns="92124" bIns="4606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5E7EEBD-20A0-4FAD-9243-CA67A256F90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59496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857"/>
          </a:xfrm>
          <a:prstGeom prst="rect">
            <a:avLst/>
          </a:prstGeom>
        </p:spPr>
        <p:txBody>
          <a:bodyPr vert="horz" lIns="90992" tIns="45496" rIns="90992" bIns="45496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857"/>
          </a:xfrm>
          <a:prstGeom prst="rect">
            <a:avLst/>
          </a:prstGeom>
        </p:spPr>
        <p:txBody>
          <a:bodyPr vert="horz" lIns="90992" tIns="45496" rIns="90992" bIns="45496" rtlCol="0"/>
          <a:lstStyle>
            <a:lvl1pPr algn="r">
              <a:defRPr sz="1200"/>
            </a:lvl1pPr>
          </a:lstStyle>
          <a:p>
            <a:fld id="{607AEF22-E25B-44DA-B24F-9CC886C17254}" type="datetimeFigureOut">
              <a:rPr lang="ru-RU" smtClean="0"/>
              <a:pPr/>
              <a:t>09.12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92" tIns="45496" rIns="90992" bIns="45496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4599"/>
            <a:ext cx="5438140" cy="4467462"/>
          </a:xfrm>
          <a:prstGeom prst="rect">
            <a:avLst/>
          </a:prstGeom>
        </p:spPr>
        <p:txBody>
          <a:bodyPr vert="horz" lIns="90992" tIns="45496" rIns="90992" bIns="4549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197"/>
            <a:ext cx="2945659" cy="495857"/>
          </a:xfrm>
          <a:prstGeom prst="rect">
            <a:avLst/>
          </a:prstGeom>
        </p:spPr>
        <p:txBody>
          <a:bodyPr vert="horz" lIns="90992" tIns="45496" rIns="90992" bIns="45496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9197"/>
            <a:ext cx="2945659" cy="495857"/>
          </a:xfrm>
          <a:prstGeom prst="rect">
            <a:avLst/>
          </a:prstGeom>
        </p:spPr>
        <p:txBody>
          <a:bodyPr vert="horz" lIns="90992" tIns="45496" rIns="90992" bIns="45496" rtlCol="0" anchor="b"/>
          <a:lstStyle>
            <a:lvl1pPr algn="r">
              <a:defRPr sz="1200"/>
            </a:lvl1pPr>
          </a:lstStyle>
          <a:p>
            <a:fld id="{8F6A0201-F190-4276-9DB7-0D6DF8F672C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6681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6A0201-F190-4276-9DB7-0D6DF8F672C1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8124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84F7DF28-DBB8-4ED4-A88B-47882B65AFF7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29891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1F869B92-2740-4E0E-BC54-13EC54046CA4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200716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547BBA99-97C5-4124-94F8-9F2913479529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412774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2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>
            <a:off x="1463675" y="3549650"/>
            <a:ext cx="2971800" cy="1588"/>
          </a:xfrm>
          <a:prstGeom prst="line">
            <a:avLst/>
          </a:prstGeom>
          <a:ln w="9525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/>
          <p:cNvCxnSpPr/>
          <p:nvPr/>
        </p:nvCxnSpPr>
        <p:spPr>
          <a:xfrm>
            <a:off x="4708525" y="3549650"/>
            <a:ext cx="2971800" cy="1588"/>
          </a:xfrm>
          <a:prstGeom prst="line">
            <a:avLst/>
          </a:prstGeom>
          <a:ln w="9525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вал 5"/>
          <p:cNvSpPr/>
          <p:nvPr/>
        </p:nvSpPr>
        <p:spPr>
          <a:xfrm>
            <a:off x="4540250" y="3525838"/>
            <a:ext cx="46038" cy="46037"/>
          </a:xfrm>
          <a:prstGeom prst="ellipse">
            <a:avLst/>
          </a:prstGeom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2">
            <a:schemeClr val="accent2"/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457200" y="3699804"/>
            <a:ext cx="8305800" cy="1143000"/>
          </a:xfrm>
        </p:spPr>
        <p:txBody>
          <a:bodyPr>
            <a:noAutofit/>
          </a:bodyPr>
          <a:lstStyle>
            <a:lvl1pPr marL="0" indent="0" algn="ctr">
              <a:buNone/>
              <a:defRPr sz="2200" spc="100" baseline="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28" name="Заголовок 27"/>
          <p:cNvSpPr>
            <a:spLocks noGrp="1"/>
          </p:cNvSpPr>
          <p:nvPr>
            <p:ph type="ctrTitle"/>
          </p:nvPr>
        </p:nvSpPr>
        <p:spPr>
          <a:xfrm>
            <a:off x="457200" y="1433732"/>
            <a:ext cx="8305800" cy="1981200"/>
          </a:xfrm>
          <a:ln w="6350" cap="rnd">
            <a:noFill/>
          </a:ln>
        </p:spPr>
        <p:txBody>
          <a:bodyPr>
            <a:noAutofit/>
          </a:bodyPr>
          <a:lstStyle>
            <a:lvl1pPr algn="ctr">
              <a:defRPr lang="en-US" sz="4800" b="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srgbClr val="000000">
                      <a:alpha val="70000"/>
                    </a:srgbClr>
                  </a:inn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7" name="Дата 1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5C8BA6-2429-49D2-80CA-FF27695CA99A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9.12.2020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8" name="Номер слайда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09C430-27D9-4D12-AFC9-3A58A8DE94D6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10" name="Нижний колонтитул 1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7417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Объект 8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7" name="Заголовок 1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652535-7970-47B2-86B6-5A02A6D50D04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9.12.2020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F1F871-4F6A-4333-82AC-57E04F323B66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0830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>
            <a:off x="685800" y="4916488"/>
            <a:ext cx="7924800" cy="4762"/>
          </a:xfrm>
          <a:prstGeom prst="line">
            <a:avLst/>
          </a:prstGeom>
          <a:noFill/>
          <a:ln w="9525" cap="flat" cmpd="sng" algn="ctr">
            <a:solidFill>
              <a:srgbClr val="E9E9E8"/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505200"/>
            <a:ext cx="7924800" cy="1371600"/>
          </a:xfrm>
        </p:spPr>
        <p:txBody>
          <a:bodyPr>
            <a:noAutofit/>
          </a:bodyPr>
          <a:lstStyle>
            <a:lvl1pPr algn="l" rtl="0">
              <a:spcBef>
                <a:spcPct val="0"/>
              </a:spcBef>
              <a:buNone/>
              <a:defRPr lang="en-US" sz="4800" b="0" dirty="0">
                <a:ln w="3200">
                  <a:solidFill>
                    <a:schemeClr val="bg2">
                      <a:shade val="2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38100" dist="25400" dir="13500000">
                    <a:prstClr val="black">
                      <a:alpha val="70000"/>
                    </a:prstClr>
                  </a:inn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5800" y="4958864"/>
            <a:ext cx="7924800" cy="984736"/>
          </a:xfrm>
        </p:spPr>
        <p:txBody>
          <a:bodyPr/>
          <a:lstStyle>
            <a:lvl1pPr marL="0" indent="0">
              <a:buNone/>
              <a:defRPr sz="2000" spc="100" baseline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C4E3C8-1DB7-4353-9239-289F89C575FE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9.12.2020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BEA83D-275A-4B99-8FF6-FA6F06470C1B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9539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1" name="Объект 10"/>
          <p:cNvSpPr>
            <a:spLocks noGrp="1"/>
          </p:cNvSpPr>
          <p:nvPr>
            <p:ph sz="half" idx="1"/>
          </p:nvPr>
        </p:nvSpPr>
        <p:spPr>
          <a:xfrm>
            <a:off x="457200" y="1524000"/>
            <a:ext cx="4059936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Объект 12"/>
          <p:cNvSpPr>
            <a:spLocks noGrp="1"/>
          </p:cNvSpPr>
          <p:nvPr>
            <p:ph sz="half" idx="2"/>
          </p:nvPr>
        </p:nvSpPr>
        <p:spPr>
          <a:xfrm>
            <a:off x="4648200" y="1524000"/>
            <a:ext cx="4059936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EACAEE-4557-4B57-B099-9946CC235AFF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9.12.2020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7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2D572D-92C6-4FC1-91CA-54A0A46BD5D8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2873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>
          <a:xfrm>
            <a:off x="563563" y="2179638"/>
            <a:ext cx="3748087" cy="1587"/>
          </a:xfrm>
          <a:prstGeom prst="line">
            <a:avLst/>
          </a:prstGeom>
          <a:noFill/>
          <a:ln w="12700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4925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4754563" y="2179638"/>
            <a:ext cx="3749675" cy="1587"/>
          </a:xfrm>
          <a:prstGeom prst="line">
            <a:avLst/>
          </a:prstGeom>
          <a:noFill/>
          <a:ln w="12700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4925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399593"/>
            <a:ext cx="4040188" cy="762000"/>
          </a:xfrm>
          <a:noFill/>
          <a:ln w="25400" cap="rnd" cmpd="sng" algn="ctr">
            <a:noFill/>
            <a:prstDash val="solid"/>
          </a:ln>
          <a:effectLst>
            <a:softEdge rad="63500"/>
          </a:effectLst>
          <a:sp3d prstMaterial="flat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600" b="1">
                <a:solidFill>
                  <a:schemeClr val="tx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2" name="Объект 31"/>
          <p:cNvSpPr>
            <a:spLocks noGrp="1"/>
          </p:cNvSpPr>
          <p:nvPr>
            <p:ph sz="half" idx="2"/>
          </p:nvPr>
        </p:nvSpPr>
        <p:spPr>
          <a:xfrm>
            <a:off x="457200" y="2201896"/>
            <a:ext cx="4038600" cy="391363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34" name="Объект 33"/>
          <p:cNvSpPr>
            <a:spLocks noGrp="1"/>
          </p:cNvSpPr>
          <p:nvPr>
            <p:ph sz="quarter" idx="4"/>
          </p:nvPr>
        </p:nvSpPr>
        <p:spPr>
          <a:xfrm>
            <a:off x="4649788" y="2201896"/>
            <a:ext cx="4038600" cy="391363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544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2" name="Текст 11"/>
          <p:cNvSpPr>
            <a:spLocks noGrp="1"/>
          </p:cNvSpPr>
          <p:nvPr>
            <p:ph type="body" idx="3"/>
          </p:nvPr>
        </p:nvSpPr>
        <p:spPr>
          <a:xfrm>
            <a:off x="4648200" y="1399593"/>
            <a:ext cx="4040188" cy="762000"/>
          </a:xfrm>
          <a:noFill/>
          <a:ln w="25400" cap="rnd" cmpd="sng" algn="ctr">
            <a:noFill/>
            <a:prstDash val="solid"/>
          </a:ln>
          <a:effectLst>
            <a:softEdge rad="63500"/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600" b="1" baseline="0">
                <a:solidFill>
                  <a:schemeClr val="tx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1F158C-EA81-4B3E-A926-160F5085B46A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11" name="Дата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65CC59-8E7D-4F07-869D-A10D46C73420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9.12.2020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4435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652B82-C4AB-4F2F-810D-4A571FED67DC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9.12.2020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4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5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95DE55-D306-410F-89BC-9B6DA3B7E688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5699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7BF1B3-724A-4101-B1D8-B875C5F33EBE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9.12.2020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3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4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6B77DA-0FD1-426A-936F-197F71AE21B4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1383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E1B9F3BD-AEB6-4956-BD9D-F04BB99BE19B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169393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Объект 28"/>
          <p:cNvSpPr>
            <a:spLocks noGrp="1"/>
          </p:cNvSpPr>
          <p:nvPr>
            <p:ph sz="quarter" idx="1"/>
          </p:nvPr>
        </p:nvSpPr>
        <p:spPr>
          <a:xfrm>
            <a:off x="457200" y="457200"/>
            <a:ext cx="6248400" cy="5715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781800" y="1600200"/>
            <a:ext cx="1984248" cy="3733800"/>
          </a:xfrm>
        </p:spPr>
        <p:txBody>
          <a:bodyPr/>
          <a:lstStyle>
            <a:lvl1pPr marL="0" indent="0">
              <a:lnSpc>
                <a:spcPct val="125000"/>
              </a:lnSpc>
              <a:spcAft>
                <a:spcPts val="1000"/>
              </a:spcAft>
              <a:buNone/>
              <a:defRPr sz="1600">
                <a:solidFill>
                  <a:schemeClr val="tx2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1" name="Заголовок 30"/>
          <p:cNvSpPr>
            <a:spLocks noGrp="1"/>
          </p:cNvSpPr>
          <p:nvPr>
            <p:ph type="title"/>
          </p:nvPr>
        </p:nvSpPr>
        <p:spPr>
          <a:xfrm>
            <a:off x="6781800" y="457200"/>
            <a:ext cx="1981200" cy="1066800"/>
          </a:xfrm>
        </p:spPr>
        <p:txBody>
          <a:bodyPr lIns="91440" tIns="91440"/>
          <a:lstStyle>
            <a:lvl1pPr algn="l">
              <a:buNone/>
              <a:defRPr sz="1800" b="1" spc="-50" baseline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2DD2A3-8B2A-4500-95BC-55F673EAE439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9.12.2020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7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7D83CE-71C2-416C-BBAC-0B573061C5A1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8042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29400" y="457200"/>
            <a:ext cx="2057400" cy="1066800"/>
          </a:xfrm>
        </p:spPr>
        <p:txBody>
          <a:bodyPr lIns="91440" tIns="91440"/>
          <a:lstStyle>
            <a:lvl1pPr algn="l">
              <a:buNone/>
              <a:defRPr sz="1800" b="1" spc="-50" baseline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57200" y="457200"/>
            <a:ext cx="6019800" cy="5562600"/>
          </a:xfrm>
          <a:solidFill>
            <a:schemeClr val="tx2">
              <a:tint val="40000"/>
            </a:schemeClr>
          </a:solidFill>
          <a:effectLst>
            <a:outerShdw blurRad="88900" sx="103000" sy="103000" algn="ctr" rotWithShape="0">
              <a:prstClr val="black">
                <a:alpha val="32000"/>
              </a:prstClr>
            </a:outerShdw>
            <a:softEdge rad="127000"/>
          </a:effectLst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629400" y="1600200"/>
            <a:ext cx="2057400" cy="4419600"/>
          </a:xfrm>
        </p:spPr>
        <p:txBody>
          <a:bodyPr/>
          <a:lstStyle>
            <a:lvl1pPr marL="0" indent="0">
              <a:lnSpc>
                <a:spcPct val="125000"/>
              </a:lnSpc>
              <a:spcAft>
                <a:spcPts val="1000"/>
              </a:spcAft>
              <a:buFontTx/>
              <a:buNone/>
              <a:defRPr sz="1600" b="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CCDDC-04D5-4E1D-AB9D-D253902994B0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9.12.2020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7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A1002E-A170-4B9E-B516-48B9907A83F8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5545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E23E6B-3A74-4A42-84BC-83A35DE1E7BA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9.12.2020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BA9877-BCB7-4C36-9AC5-21A3CEB4B81E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8252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A88DBB-CE10-47A9-AABB-443BC4F377C3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9.12.2020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D8F266-87B9-4653-B17D-9FACC4DF3C39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7721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84F7DF28-DBB8-4ED4-A88B-47882B65AFF7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528207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E1B9F3BD-AEB6-4956-BD9D-F04BB99BE19B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077713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4AB9D488-0D00-405C-863F-A01FFCE35E66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191753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BD77EB22-2F1F-4D6D-A69A-33696A734E0F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773413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CD5756C1-0F88-44CC-B838-11393E9E3E8D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105646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4791A471-2578-4C0D-A6F5-2A5257567496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40145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4AB9D488-0D00-405C-863F-A01FFCE35E66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334978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74268249-9FA6-4048-8E55-71D72C70AA08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317519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871417DA-15BA-4A99-9E11-197F777F3E3C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518193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AE14D74C-DF6A-4879-96D8-54F1694CAC93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216609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1F869B92-2740-4E0E-BC54-13EC54046CA4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28044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547BBA99-97C5-4124-94F8-9F2913479529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701723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2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BD77EB22-2F1F-4D6D-A69A-33696A734E0F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124147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CD5756C1-0F88-44CC-B838-11393E9E3E8D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58155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4791A471-2578-4C0D-A6F5-2A5257567496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181536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74268249-9FA6-4048-8E55-71D72C70AA08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97705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871417DA-15BA-4A99-9E11-197F777F3E3C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10466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AE14D74C-DF6A-4879-96D8-54F1694CAC93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644745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ru-RU" smtClean="0"/>
              <a:t>Haga clic para cambiar el estilo de título	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ru-RU" smtClean="0"/>
              <a:t>Haga clic para modificar el estilo de texto del patrón</a:t>
            </a:r>
          </a:p>
          <a:p>
            <a:pPr lvl="1"/>
            <a:r>
              <a:rPr lang="es-ES" altLang="ru-RU" smtClean="0"/>
              <a:t>Segundo nivel</a:t>
            </a:r>
          </a:p>
          <a:p>
            <a:pPr lvl="2"/>
            <a:r>
              <a:rPr lang="es-ES" altLang="ru-RU" smtClean="0"/>
              <a:t>Tercer nivel</a:t>
            </a:r>
          </a:p>
          <a:p>
            <a:pPr lvl="3"/>
            <a:r>
              <a:rPr lang="es-ES" altLang="ru-RU" smtClean="0"/>
              <a:t>Cuarto nivel</a:t>
            </a:r>
          </a:p>
          <a:p>
            <a:pPr lvl="4"/>
            <a:r>
              <a:rPr lang="es-ES" altLang="ru-RU" smtClean="0"/>
              <a:t>Quinto ni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E6B3FB2E-1CFF-4CF0-9D2C-9B5A18B60958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86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Текст 8"/>
          <p:cNvSpPr>
            <a:spLocks noGrp="1"/>
          </p:cNvSpPr>
          <p:nvPr>
            <p:ph type="body" idx="1"/>
          </p:nvPr>
        </p:nvSpPr>
        <p:spPr bwMode="auto">
          <a:xfrm>
            <a:off x="457200" y="1447800"/>
            <a:ext cx="8229600" cy="467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5791200" y="6203950"/>
            <a:ext cx="2590800" cy="384175"/>
          </a:xfrm>
          <a:prstGeom prst="rect">
            <a:avLst/>
          </a:prstGeom>
        </p:spPr>
        <p:txBody>
          <a:bodyPr vert="horz" anchor="ctr" anchorCtr="0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509F436-4486-473A-8487-C42B3B4F8596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9.12.2020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2133600" y="6203950"/>
            <a:ext cx="3581400" cy="384175"/>
          </a:xfrm>
          <a:prstGeom prst="rect">
            <a:avLst/>
          </a:prstGeom>
        </p:spPr>
        <p:txBody>
          <a:bodyPr vert="horz" anchor="ctr" anchorCtr="0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410575" y="6181725"/>
            <a:ext cx="609600" cy="457200"/>
          </a:xfrm>
          <a:prstGeom prst="rect">
            <a:avLst/>
          </a:prstGeom>
          <a:noFill/>
        </p:spPr>
        <p:txBody>
          <a:bodyPr vert="horz" lIns="0" tIns="0" rIns="0" bIns="0" anchor="ctr" anchorCtr="0">
            <a:noAutofit/>
          </a:bodyPr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600" baseline="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AD7E48C-1E51-4651-BA25-8E4CA416798E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219200"/>
          </a:xfrm>
          <a:prstGeom prst="rect">
            <a:avLst/>
          </a:prstGeom>
          <a:ln w="6350" cap="rnd">
            <a:noFill/>
          </a:ln>
        </p:spPr>
        <p:txBody>
          <a:bodyPr vert="horz" anchor="b" anchorCtr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48996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200" kern="1200" spc="-100" dirty="0">
          <a:ln w="3200">
            <a:solidFill>
              <a:schemeClr val="bg2">
                <a:shade val="75000"/>
                <a:alpha val="25000"/>
              </a:schemeClr>
            </a:solidFill>
            <a:prstDash val="solid"/>
            <a:round/>
          </a:ln>
          <a:solidFill>
            <a:srgbClr val="F9F9F9"/>
          </a:solidFill>
          <a:effectLst>
            <a:innerShdw blurRad="50800" dist="25400" dir="13500000">
              <a:prstClr val="black">
                <a:alpha val="70000"/>
              </a:prstClr>
            </a:inn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9pPr>
    </p:titleStyle>
    <p:bodyStyle>
      <a:lvl1pPr marL="273050" indent="-273050" algn="l" rtl="0" eaLnBrk="0" fontAlgn="base" hangingPunct="0">
        <a:spcBef>
          <a:spcPts val="600"/>
        </a:spcBef>
        <a:spcAft>
          <a:spcPct val="0"/>
        </a:spcAft>
        <a:buClr>
          <a:schemeClr val="accent2"/>
        </a:buClr>
        <a:buSzPct val="85000"/>
        <a:buFont typeface="Wingdings 2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300"/>
        </a:spcBef>
        <a:spcAft>
          <a:spcPct val="0"/>
        </a:spcAft>
        <a:buClr>
          <a:srgbClr val="D6903D"/>
        </a:buClr>
        <a:buSzPct val="85000"/>
        <a:buFont typeface="Wingdings 2" pitchFamily="18" charset="2"/>
        <a:buChar char="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004888" indent="-228600" algn="l" rtl="0" eaLnBrk="0" fontAlgn="base" hangingPunct="0">
        <a:spcBef>
          <a:spcPts val="300"/>
        </a:spcBef>
        <a:spcAft>
          <a:spcPct val="0"/>
        </a:spcAft>
        <a:buClr>
          <a:srgbClr val="B37732"/>
        </a:buClr>
        <a:buSzPct val="85000"/>
        <a:buFont typeface="Wingdings 2" pitchFamily="18" charset="2"/>
        <a:buChar char="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279525" indent="-228600" algn="l" rtl="0" eaLnBrk="0" fontAlgn="base" hangingPunct="0">
        <a:spcBef>
          <a:spcPts val="300"/>
        </a:spcBef>
        <a:spcAft>
          <a:spcPct val="0"/>
        </a:spcAft>
        <a:buClr>
          <a:srgbClr val="D6903D"/>
        </a:buClr>
        <a:buSzPct val="85000"/>
        <a:buFont typeface="Wingdings 2" pitchFamily="18" charset="2"/>
        <a:buChar char="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163" indent="-228600" algn="l" rtl="0" eaLnBrk="0" fontAlgn="base" hangingPunct="0">
        <a:spcBef>
          <a:spcPts val="338"/>
        </a:spcBef>
        <a:spcAft>
          <a:spcPct val="0"/>
        </a:spcAft>
        <a:buClr>
          <a:srgbClr val="D6903D"/>
        </a:buClr>
        <a:buSzPct val="85000"/>
        <a:buFont typeface="Wingdings 2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28800" indent="-22860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011680" indent="-18288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286000" indent="-18288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560320" indent="-18288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ru-RU" smtClean="0"/>
              <a:t>Haga clic para cambiar el estilo de título	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ru-RU" smtClean="0"/>
              <a:t>Haga clic para modificar el estilo de texto del patrón</a:t>
            </a:r>
          </a:p>
          <a:p>
            <a:pPr lvl="1"/>
            <a:r>
              <a:rPr lang="es-ES" altLang="ru-RU" smtClean="0"/>
              <a:t>Segundo nivel</a:t>
            </a:r>
          </a:p>
          <a:p>
            <a:pPr lvl="2"/>
            <a:r>
              <a:rPr lang="es-ES" altLang="ru-RU" smtClean="0"/>
              <a:t>Tercer nivel</a:t>
            </a:r>
          </a:p>
          <a:p>
            <a:pPr lvl="3"/>
            <a:r>
              <a:rPr lang="es-ES" altLang="ru-RU" smtClean="0"/>
              <a:t>Cuarto nivel</a:t>
            </a:r>
          </a:p>
          <a:p>
            <a:pPr lvl="4"/>
            <a:r>
              <a:rPr lang="es-ES" altLang="ru-RU" smtClean="0"/>
              <a:t>Quinto ni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E6B3FB2E-1CFF-4CF0-9D2C-9B5A18B60958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80146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7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4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14.xml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microsoft.com/office/2007/relationships/hdphoto" Target="../media/hdphoto5.wdp"/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12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14.xml"/><Relationship Id="rId11" Type="http://schemas.microsoft.com/office/2007/relationships/hdphoto" Target="../media/hdphoto4.wdp"/><Relationship Id="rId5" Type="http://schemas.openxmlformats.org/officeDocument/2006/relationships/tags" Target="../tags/tag10.xml"/><Relationship Id="rId15" Type="http://schemas.microsoft.com/office/2007/relationships/hdphoto" Target="../media/hdphoto6.wdp"/><Relationship Id="rId10" Type="http://schemas.openxmlformats.org/officeDocument/2006/relationships/image" Target="../media/image12.png"/><Relationship Id="rId4" Type="http://schemas.openxmlformats.org/officeDocument/2006/relationships/tags" Target="../tags/tag9.xml"/><Relationship Id="rId9" Type="http://schemas.microsoft.com/office/2007/relationships/hdphoto" Target="../media/hdphoto3.wdp"/><Relationship Id="rId1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5" Type="http://schemas.openxmlformats.org/officeDocument/2006/relationships/chart" Target="../charts/chart21.xml"/><Relationship Id="rId4" Type="http://schemas.openxmlformats.org/officeDocument/2006/relationships/chart" Target="../charts/chart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15.png"/><Relationship Id="rId4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6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microsoft.com/office/2007/relationships/hdphoto" Target="../media/hdphoto2.wdp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17.png"/><Relationship Id="rId5" Type="http://schemas.openxmlformats.org/officeDocument/2006/relationships/tags" Target="../tags/tag22.xml"/><Relationship Id="rId10" Type="http://schemas.openxmlformats.org/officeDocument/2006/relationships/image" Target="../media/image6.png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8.xml"/><Relationship Id="rId7" Type="http://schemas.openxmlformats.org/officeDocument/2006/relationships/image" Target="../media/image6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microsoft.com/office/2007/relationships/hdphoto" Target="../media/hdphoto3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33.xml"/><Relationship Id="rId7" Type="http://schemas.openxmlformats.org/officeDocument/2006/relationships/image" Target="../media/image19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6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8.xml"/><Relationship Id="rId4" Type="http://schemas.openxmlformats.org/officeDocument/2006/relationships/chart" Target="../charts/chart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30.xml"/><Relationship Id="rId5" Type="http://schemas.microsoft.com/office/2007/relationships/hdphoto" Target="../media/hdphoto5.wdp"/><Relationship Id="rId4" Type="http://schemas.openxmlformats.org/officeDocument/2006/relationships/image" Target="../media/image2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microsoft.com/office/2007/relationships/hdphoto" Target="../media/hdphoto7.wdp"/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2.png"/><Relationship Id="rId5" Type="http://schemas.microsoft.com/office/2007/relationships/hdphoto" Target="../media/hdphoto6.wdp"/><Relationship Id="rId4" Type="http://schemas.openxmlformats.org/officeDocument/2006/relationships/image" Target="../media/image2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image" Target="../media/image6.png"/><Relationship Id="rId5" Type="http://schemas.openxmlformats.org/officeDocument/2006/relationships/tags" Target="../tags/tag39.xml"/><Relationship Id="rId10" Type="http://schemas.openxmlformats.org/officeDocument/2006/relationships/chart" Target="../charts/chart32.xml"/><Relationship Id="rId4" Type="http://schemas.openxmlformats.org/officeDocument/2006/relationships/tags" Target="../tags/tag38.xml"/><Relationship Id="rId9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25.xml"/><Relationship Id="rId5" Type="http://schemas.openxmlformats.org/officeDocument/2006/relationships/chart" Target="../charts/chart35.xml"/><Relationship Id="rId4" Type="http://schemas.openxmlformats.org/officeDocument/2006/relationships/chart" Target="../charts/chart3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5.xml"/><Relationship Id="rId5" Type="http://schemas.openxmlformats.org/officeDocument/2006/relationships/chart" Target="../charts/chart38.xml"/><Relationship Id="rId4" Type="http://schemas.openxmlformats.org/officeDocument/2006/relationships/chart" Target="../charts/chart3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3.xml"/><Relationship Id="rId7" Type="http://schemas.openxmlformats.org/officeDocument/2006/relationships/chart" Target="../charts/char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6.png"/><Relationship Id="rId5" Type="http://schemas.openxmlformats.org/officeDocument/2006/relationships/tags" Target="../tags/tag5.xml"/><Relationship Id="rId10" Type="http://schemas.openxmlformats.org/officeDocument/2006/relationships/chart" Target="../charts/chart4.xml"/><Relationship Id="rId4" Type="http://schemas.openxmlformats.org/officeDocument/2006/relationships/tags" Target="../tags/tag4.xml"/><Relationship Id="rId9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chart" Target="../charts/char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chart" Target="../charts/char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chart" Target="../charts/char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11"/>
          <p:cNvCxnSpPr/>
          <p:nvPr/>
        </p:nvCxnSpPr>
        <p:spPr>
          <a:xfrm>
            <a:off x="250825" y="476250"/>
            <a:ext cx="864235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8893175" y="476250"/>
            <a:ext cx="0" cy="23764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250825" y="3357563"/>
            <a:ext cx="180022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14036" y="1697399"/>
            <a:ext cx="8640960" cy="2952750"/>
          </a:xfrm>
          <a:extLst/>
        </p:spPr>
        <p:txBody>
          <a:bodyPr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>
              <a:defRPr/>
            </a:pPr>
            <a:r>
              <a:rPr lang="ru-RU" sz="48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>ПРОЕКТ БЮДЖЕТА</a:t>
            </a:r>
            <a:br>
              <a:rPr lang="ru-RU" sz="48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</a:br>
            <a:r>
              <a:rPr lang="ru-RU" sz="48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>города-курорта </a:t>
            </a:r>
            <a:r>
              <a:rPr lang="ru-RU" sz="4800" b="1" dirty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>Пятигорска на </a:t>
            </a:r>
            <a:r>
              <a:rPr lang="ru-RU" sz="48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>2021 год и плановый период 2022-2023 годов</a:t>
            </a:r>
            <a:endParaRPr lang="en-US" sz="3400" b="1" dirty="0">
              <a:ln w="11430"/>
              <a:solidFill>
                <a:srgbClr val="333399"/>
              </a:solidFill>
              <a:effectLst>
                <a:glow rad="1905000">
                  <a:schemeClr val="accent5">
                    <a:satMod val="175000"/>
                    <a:alpha val="40000"/>
                  </a:scheme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+mn-lt"/>
              <a:cs typeface="Times New Roman" pitchFamily="18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V="1">
            <a:off x="370897" y="2000250"/>
            <a:ext cx="0" cy="28813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Заголовок 2"/>
          <p:cNvSpPr>
            <a:spLocks noGrp="1"/>
          </p:cNvSpPr>
          <p:nvPr>
            <p:ph type="title"/>
          </p:nvPr>
        </p:nvSpPr>
        <p:spPr>
          <a:xfrm>
            <a:off x="914400" y="228599"/>
            <a:ext cx="8229600" cy="866775"/>
          </a:xfrm>
        </p:spPr>
        <p:txBody>
          <a:bodyPr>
            <a:noAutofit/>
          </a:bodyPr>
          <a:lstStyle/>
          <a:p>
            <a:pPr marL="446088" lvl="0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Динамика и программная структура расходов бюджета</a:t>
            </a:r>
            <a:endParaRPr lang="ru-RU" sz="2800" b="1" dirty="0">
              <a:latin typeface="+mn-lt"/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1813757557"/>
              </p:ext>
            </p:extLst>
          </p:nvPr>
        </p:nvGraphicFramePr>
        <p:xfrm>
          <a:off x="-30724" y="1322781"/>
          <a:ext cx="9144000" cy="1438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2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31898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9511187"/>
              </p:ext>
            </p:extLst>
          </p:nvPr>
        </p:nvGraphicFramePr>
        <p:xfrm>
          <a:off x="0" y="2671570"/>
          <a:ext cx="9144000" cy="4186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" name="Диаграмма 16"/>
          <p:cNvGraphicFramePr/>
          <p:nvPr>
            <p:extLst>
              <p:ext uri="{D42A27DB-BD31-4B8C-83A1-F6EECF244321}">
                <p14:modId xmlns:p14="http://schemas.microsoft.com/office/powerpoint/2010/main" val="3481317542"/>
              </p:ext>
            </p:extLst>
          </p:nvPr>
        </p:nvGraphicFramePr>
        <p:xfrm>
          <a:off x="4264089" y="2481942"/>
          <a:ext cx="4786603" cy="4170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1"/>
          <p:cNvSpPr txBox="1"/>
          <p:nvPr/>
        </p:nvSpPr>
        <p:spPr>
          <a:xfrm>
            <a:off x="4850895" y="3425435"/>
            <a:ext cx="2175056" cy="126656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ограммные расходы</a:t>
            </a:r>
          </a:p>
          <a:p>
            <a:pPr algn="ctr"/>
            <a:endParaRPr lang="ru-RU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4 программ – 99,3%</a:t>
            </a:r>
            <a:endParaRPr lang="ru-RU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8055070" y="4171079"/>
            <a:ext cx="7681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,7%</a:t>
            </a:r>
            <a:endParaRPr lang="ru-RU" sz="20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7648575" y="4600027"/>
            <a:ext cx="158114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/>
            <a:r>
              <a:rPr lang="ru-RU" sz="1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 отдельные  гос.полномочия переданные администрации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7679094" y="3425435"/>
            <a:ext cx="172402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беспечение деятельности Думы города Пятигорск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862872" y="2052734"/>
            <a:ext cx="139961" cy="3172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5311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:p14="http://schemas.microsoft.com/office/powerpoint/2010/main" val="2356686638"/>
              </p:ext>
            </p:extLst>
          </p:nvPr>
        </p:nvGraphicFramePr>
        <p:xfrm>
          <a:off x="-415528" y="1917468"/>
          <a:ext cx="3078955" cy="33623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8358269"/>
              </p:ext>
            </p:extLst>
          </p:nvPr>
        </p:nvGraphicFramePr>
        <p:xfrm>
          <a:off x="2433637" y="1583067"/>
          <a:ext cx="6675857" cy="5094348"/>
        </p:xfrm>
        <a:graphic>
          <a:graphicData uri="http://schemas.openxmlformats.org/drawingml/2006/table">
            <a:tbl>
              <a:tblPr>
                <a:solidFill>
                  <a:srgbClr val="FFFFCC"/>
                </a:solidFill>
                <a:effectLst/>
              </a:tblPr>
              <a:tblGrid>
                <a:gridCol w="1163578"/>
                <a:gridCol w="1460560"/>
                <a:gridCol w="1657350"/>
                <a:gridCol w="1752600"/>
                <a:gridCol w="641769"/>
              </a:tblGrid>
              <a:tr h="1060500">
                <a:tc rowSpan="3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kumimoji="0" lang="ru-RU" sz="1200" b="1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ru-RU" sz="1150" b="1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</a:t>
                      </a:r>
                      <a:r>
                        <a:rPr kumimoji="0" lang="ru-RU" sz="115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«Обеспечение </a:t>
                      </a:r>
                      <a:r>
                        <a:rPr kumimoji="0" lang="ru-RU" sz="1150" b="1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стойчивого </a:t>
                      </a:r>
                      <a:r>
                        <a:rPr lang="ru-RU" sz="1150" b="1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кращения непригодного для проживания жилищного </a:t>
                      </a:r>
                      <a:r>
                        <a:rPr lang="ru-RU" sz="115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онда»</a:t>
                      </a:r>
                      <a:endParaRPr lang="ru-RU" sz="1150" b="1" kern="1200" dirty="0">
                        <a:solidFill>
                          <a:schemeClr val="tx2">
                            <a:lumMod val="1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ase" latinLnBrk="0" hangingPunct="1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kumimoji="0" lang="ru-RU" sz="1100" b="1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троительство многоквартирных жилых дом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5,4</a:t>
                      </a:r>
                    </a:p>
                  </a:txBody>
                  <a:tcPr marL="5907" marR="5907" marT="59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678481"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«Повышение </a:t>
                      </a:r>
                      <a:r>
                        <a:rPr kumimoji="0" lang="ru-RU" sz="1200" b="1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омфортности городской </a:t>
                      </a:r>
                      <a:r>
                        <a:rPr kumimoji="0"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реды»</a:t>
                      </a:r>
                      <a:endParaRPr kumimoji="0" lang="ru-RU" sz="1200" b="1" kern="1200" dirty="0">
                        <a:solidFill>
                          <a:schemeClr val="tx2">
                            <a:lumMod val="1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ase" latinLnBrk="0" hangingPunct="1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kumimoji="0" lang="ru-RU" sz="1100" b="1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лагоустройство скверов: Лазаревский, </a:t>
                      </a:r>
                      <a:r>
                        <a:rPr kumimoji="0" lang="ru-RU" sz="11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олстого</a:t>
                      </a:r>
                      <a:endParaRPr kumimoji="0" lang="ru-RU" sz="1100" b="1" kern="1200" dirty="0">
                        <a:solidFill>
                          <a:schemeClr val="tx2">
                            <a:lumMod val="1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6,3</a:t>
                      </a:r>
                    </a:p>
                  </a:txBody>
                  <a:tcPr marL="5907" marR="5907" marT="59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547247"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kumimoji="0" lang="ru-RU" sz="1200" b="1" kern="1200" dirty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endParaRPr kumimoji="0" lang="ru-RU" sz="1200" b="1" kern="1200" dirty="0" smtClean="0">
                        <a:solidFill>
                          <a:schemeClr val="tx2">
                            <a:lumMod val="1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algn="ctr" rtl="0" eaLnBrk="1" fontAlgn="b" latinLnBrk="0" hangingPunct="1"/>
                      <a:endParaRPr kumimoji="0" lang="ru-RU" sz="1200" b="1" kern="1200" dirty="0" smtClean="0">
                        <a:solidFill>
                          <a:schemeClr val="tx2">
                            <a:lumMod val="1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algn="ctr" rtl="0" eaLnBrk="1" fontAlgn="b" latinLnBrk="0" hangingPunct="1"/>
                      <a:r>
                        <a:rPr kumimoji="0"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«Безопасность </a:t>
                      </a:r>
                      <a:r>
                        <a:rPr kumimoji="0" lang="ru-RU" sz="1200" b="1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дорожного </a:t>
                      </a:r>
                      <a:r>
                        <a:rPr kumimoji="0"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движения»</a:t>
                      </a:r>
                    </a:p>
                    <a:p>
                      <a:pPr marL="0" algn="ctr" rtl="0" eaLnBrk="1" fontAlgn="b" latinLnBrk="0" hangingPunct="1"/>
                      <a:endParaRPr kumimoji="0" lang="ru-RU" sz="1200" b="1" kern="1200" dirty="0" smtClean="0">
                        <a:solidFill>
                          <a:schemeClr val="tx2">
                            <a:lumMod val="1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algn="ctr" rtl="0" eaLnBrk="1" fontAlgn="b" latinLnBrk="0" hangingPunct="1"/>
                      <a:endParaRPr kumimoji="0" lang="ru-RU" sz="1200" b="1" kern="1200" dirty="0">
                        <a:solidFill>
                          <a:schemeClr val="tx2">
                            <a:lumMod val="1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kumimoji="0" lang="ru-RU" sz="1100" b="1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Функционирование </a:t>
                      </a:r>
                      <a:r>
                        <a:rPr kumimoji="0" lang="ru-RU" sz="11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центра </a:t>
                      </a:r>
                      <a:r>
                        <a:rPr kumimoji="0" lang="ru-RU" sz="1100" b="1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 профилактике детского дорожно-транспортного </a:t>
                      </a:r>
                      <a:r>
                        <a:rPr kumimoji="0" lang="ru-RU" sz="11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авматизма</a:t>
                      </a:r>
                      <a:endParaRPr kumimoji="0" lang="ru-RU" sz="1100" b="1" kern="1200" dirty="0">
                        <a:solidFill>
                          <a:schemeClr val="tx2">
                            <a:lumMod val="10000"/>
                          </a:schemeClr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,73</a:t>
                      </a:r>
                    </a:p>
                  </a:txBody>
                  <a:tcPr marL="5907" marR="5907" marT="59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012749">
                <a:tc rowSpan="2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ru-RU" sz="1200" b="1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5907" marR="5907" marT="59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kumimoji="0"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«Финансовая поддержка семей при рождении детей»</a:t>
                      </a:r>
                    </a:p>
                  </a:txBody>
                  <a:tcPr marL="5907" marR="5907" marT="59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1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жемесячная выплата, при рождения </a:t>
                      </a:r>
                      <a:r>
                        <a:rPr kumimoji="0" lang="ru-RU" sz="1100" b="1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етьего </a:t>
                      </a:r>
                      <a:r>
                        <a:rPr kumimoji="0" lang="ru-RU" sz="11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ли </a:t>
                      </a:r>
                      <a:r>
                        <a:rPr kumimoji="0" lang="ru-RU" sz="1100" b="1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следующих детей до </a:t>
                      </a:r>
                      <a:r>
                        <a:rPr kumimoji="0" lang="ru-RU" sz="11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достижения трех </a:t>
                      </a:r>
                      <a:r>
                        <a:rPr kumimoji="0" lang="ru-RU" sz="1100" b="1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ле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8,4</a:t>
                      </a:r>
                    </a:p>
                  </a:txBody>
                  <a:tcPr marL="5907" marR="5907" marT="59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794786"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ru-RU" sz="1200" b="1" kern="1200" dirty="0" smtClean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1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жемесячная выплата при рождением первого </a:t>
                      </a:r>
                      <a:r>
                        <a:rPr kumimoji="0" lang="ru-RU" sz="1100" b="1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ебенка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50,3</a:t>
                      </a:r>
                    </a:p>
                  </a:txBody>
                  <a:tcPr marL="5907" marR="5907" marT="59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5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2"/>
          <p:cNvSpPr>
            <a:spLocks noGrp="1"/>
          </p:cNvSpPr>
          <p:nvPr>
            <p:ph type="title"/>
          </p:nvPr>
        </p:nvSpPr>
        <p:spPr>
          <a:xfrm>
            <a:off x="1592447" y="488855"/>
            <a:ext cx="5503293" cy="628650"/>
          </a:xfrm>
        </p:spPr>
        <p:txBody>
          <a:bodyPr>
            <a:noAutofit/>
          </a:bodyPr>
          <a:lstStyle/>
          <a:p>
            <a:pPr marL="446088" lvl="0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t>Национальные проекты в 2021 году</a:t>
            </a:r>
            <a:endParaRPr lang="ru-RU" sz="2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854210" y="1225667"/>
            <a:ext cx="13620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Национальные проекты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426015" y="1240002"/>
            <a:ext cx="14287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Региональные проекты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104301" y="1339319"/>
            <a:ext cx="14287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Мероприятия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353423" y="1101502"/>
            <a:ext cx="8858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Arial" pitchFamily="34" charset="0"/>
                <a:cs typeface="Arial" pitchFamily="34" charset="0"/>
              </a:rPr>
              <a:t>2021 г.</a:t>
            </a:r>
          </a:p>
        </p:txBody>
      </p:sp>
      <p:sp>
        <p:nvSpPr>
          <p:cNvPr id="12" name="Блок-схема: процесс 11"/>
          <p:cNvSpPr/>
          <p:nvPr/>
        </p:nvSpPr>
        <p:spPr>
          <a:xfrm>
            <a:off x="2603717" y="3318064"/>
            <a:ext cx="849298" cy="348175"/>
          </a:xfrm>
          <a:prstGeom prst="flowChartProcess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Arial" pitchFamily="34" charset="0"/>
                <a:cs typeface="Arial" pitchFamily="34" charset="0"/>
              </a:rPr>
              <a:t>262,4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Блок-схема: процесс 12"/>
          <p:cNvSpPr/>
          <p:nvPr/>
        </p:nvSpPr>
        <p:spPr>
          <a:xfrm>
            <a:off x="2603717" y="5641032"/>
            <a:ext cx="812969" cy="377068"/>
          </a:xfrm>
          <a:prstGeom prst="flowChartProcess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Arial" pitchFamily="34" charset="0"/>
                <a:cs typeface="Arial" pitchFamily="34" charset="0"/>
              </a:rPr>
              <a:t>218,8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433638" y="2589772"/>
            <a:ext cx="118945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Комфортная среда для жизни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433638" y="5126939"/>
            <a:ext cx="118945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Человеческий капитал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47700" y="3247904"/>
            <a:ext cx="11239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481</a:t>
            </a:r>
            <a:endParaRPr lang="ru-RU" sz="4000" b="1" dirty="0">
              <a:solidFill>
                <a:schemeClr val="tx2">
                  <a:lumMod val="1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9" name="Соединительная линия уступом 18"/>
          <p:cNvCxnSpPr/>
          <p:nvPr/>
        </p:nvCxnSpPr>
        <p:spPr>
          <a:xfrm flipV="1">
            <a:off x="1033464" y="2049019"/>
            <a:ext cx="1400174" cy="443240"/>
          </a:xfrm>
          <a:prstGeom prst="bentConnector3">
            <a:avLst>
              <a:gd name="adj1" fmla="val -340"/>
            </a:avLst>
          </a:prstGeom>
          <a:ln w="69850">
            <a:solidFill>
              <a:schemeClr val="tx2">
                <a:lumMod val="2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Соединительная линия уступом 29"/>
          <p:cNvCxnSpPr/>
          <p:nvPr/>
        </p:nvCxnSpPr>
        <p:spPr>
          <a:xfrm rot="16200000" flipH="1">
            <a:off x="2014537" y="5710237"/>
            <a:ext cx="552450" cy="123825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Соединительная линия уступом 33"/>
          <p:cNvCxnSpPr/>
          <p:nvPr/>
        </p:nvCxnSpPr>
        <p:spPr>
          <a:xfrm rot="16200000" flipH="1">
            <a:off x="1728791" y="4586289"/>
            <a:ext cx="1000122" cy="228598"/>
          </a:xfrm>
          <a:prstGeom prst="bentConnector3">
            <a:avLst>
              <a:gd name="adj1" fmla="val 97620"/>
            </a:avLst>
          </a:prstGeom>
          <a:ln w="57150">
            <a:solidFill>
              <a:schemeClr val="tx2">
                <a:lumMod val="2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Скругленный прямоугольник 41"/>
          <p:cNvSpPr/>
          <p:nvPr/>
        </p:nvSpPr>
        <p:spPr>
          <a:xfrm>
            <a:off x="38100" y="5400675"/>
            <a:ext cx="1095375" cy="5334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469,6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38100" y="6143625"/>
            <a:ext cx="1085850" cy="50482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11,6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028701" y="5410200"/>
            <a:ext cx="1514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м</a:t>
            </a:r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ежбюджетные трансферты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033464" y="6215164"/>
            <a:ext cx="1200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местный бюджет</a:t>
            </a: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-95250" y="21717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Рисунок 24" descr="https://brasovo-vestnik.ru/wp-content/uploads/2019/03/2019-1024x980.pn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301" y="97819"/>
            <a:ext cx="1029688" cy="1003683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Рисунок 25" descr="https://www.logosklad.ru/UserFiles/image/nacproekty/nacproekty_icon.png"/>
          <p:cNvPicPr/>
          <p:nvPr/>
        </p:nvPicPr>
        <p:blipFill rotWithShape="1">
          <a:blip r:embed="rId5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135" t="26199" r="65669" b="59902"/>
          <a:stretch/>
        </p:blipFill>
        <p:spPr bwMode="auto">
          <a:xfrm>
            <a:off x="4069162" y="5588260"/>
            <a:ext cx="664771" cy="73633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8" name="Рисунок 27" descr="https://www.logosklad.ru/UserFiles/image/nacproekty/nacproekty_icon.png"/>
          <p:cNvPicPr/>
          <p:nvPr/>
        </p:nvPicPr>
        <p:blipFill rotWithShape="1">
          <a:blip r:embed="rId7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69" t="26199" r="40566" b="59902"/>
          <a:stretch/>
        </p:blipFill>
        <p:spPr bwMode="auto">
          <a:xfrm>
            <a:off x="3964206" y="2421838"/>
            <a:ext cx="728769" cy="73623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3623094" y="1725853"/>
            <a:ext cx="1410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«Жилье и городская среда»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554946" y="3316586"/>
            <a:ext cx="16613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«Безопасные и качественные автомобильные дороги»</a:t>
            </a:r>
          </a:p>
        </p:txBody>
      </p:sp>
      <p:pic>
        <p:nvPicPr>
          <p:cNvPr id="33" name="Рисунок 32" descr="https://www.logosklad.ru/UserFiles/image/nacproekty/nacproekty_icon.png"/>
          <p:cNvPicPr/>
          <p:nvPr/>
        </p:nvPicPr>
        <p:blipFill rotWithShape="1">
          <a:blip r:embed="rId7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51" t="60394" r="65115" b="27429"/>
          <a:stretch/>
        </p:blipFill>
        <p:spPr bwMode="auto">
          <a:xfrm>
            <a:off x="4023525" y="4147583"/>
            <a:ext cx="756046" cy="63592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6" name="TextBox 35"/>
          <p:cNvSpPr txBox="1"/>
          <p:nvPr/>
        </p:nvSpPr>
        <p:spPr>
          <a:xfrm>
            <a:off x="3554946" y="5262174"/>
            <a:ext cx="15399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«Демография»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8353423" y="1307466"/>
            <a:ext cx="8858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млн. руб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:p14="http://schemas.microsoft.com/office/powerpoint/2010/main" val="4208998506"/>
              </p:ext>
            </p:extLst>
          </p:nvPr>
        </p:nvGraphicFramePr>
        <p:xfrm>
          <a:off x="-476716" y="1418774"/>
          <a:ext cx="3791430" cy="4164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2"/>
          <p:cNvSpPr>
            <a:spLocks noGrp="1"/>
          </p:cNvSpPr>
          <p:nvPr>
            <p:ph type="title"/>
          </p:nvPr>
        </p:nvSpPr>
        <p:spPr>
          <a:xfrm>
            <a:off x="1181819" y="370936"/>
            <a:ext cx="7962181" cy="793630"/>
          </a:xfrm>
        </p:spPr>
        <p:txBody>
          <a:bodyPr>
            <a:noAutofit/>
          </a:bodyPr>
          <a:lstStyle/>
          <a:p>
            <a:pPr marL="446088" lvl="0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ОФИНАНСИРОВАНИЕ</a:t>
            </a:r>
            <a:b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</a:b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в 2021 году</a:t>
            </a:r>
            <a:endParaRPr lang="ru-RU" sz="28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591127" y="3053832"/>
            <a:ext cx="174352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9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3,53</a:t>
            </a:r>
            <a:r>
              <a:rPr lang="ru-RU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убля</a:t>
            </a:r>
          </a:p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на</a:t>
            </a:r>
            <a:r>
              <a:rPr lang="ru-RU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9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ru-RU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убль</a:t>
            </a:r>
            <a:r>
              <a:rPr lang="ru-RU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/>
            <a:endParaRPr lang="ru-RU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0" name="Соединительная линия уступом 29"/>
          <p:cNvCxnSpPr/>
          <p:nvPr/>
        </p:nvCxnSpPr>
        <p:spPr>
          <a:xfrm rot="16200000" flipH="1">
            <a:off x="2014537" y="5710237"/>
            <a:ext cx="552450" cy="123825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Скругленный прямоугольник 41"/>
          <p:cNvSpPr/>
          <p:nvPr/>
        </p:nvSpPr>
        <p:spPr>
          <a:xfrm>
            <a:off x="250485" y="1519589"/>
            <a:ext cx="1095375" cy="53340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797,74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260010" y="4781846"/>
            <a:ext cx="1085850" cy="504825"/>
          </a:xfrm>
          <a:prstGeom prst="roundRect">
            <a:avLst/>
          </a:prstGeom>
          <a:solidFill>
            <a:schemeClr val="accent2">
              <a:lumMod val="75000"/>
              <a:alpha val="69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  <a:effectLst>
            <a:outerShdw blurRad="50800" dist="50800" dir="5400000" algn="ctr" rotWithShape="0">
              <a:srgbClr val="000000">
                <a:alpha val="67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33,91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365926" y="1477819"/>
            <a:ext cx="1514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м</a:t>
            </a:r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ежбюджетные трансферты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488057" y="4830064"/>
            <a:ext cx="1200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местный бюджет</a:t>
            </a: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-95250" y="21717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875645" y="910651"/>
            <a:ext cx="8858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млн. руб.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642205"/>
              </p:ext>
            </p:extLst>
          </p:nvPr>
        </p:nvGraphicFramePr>
        <p:xfrm>
          <a:off x="2786332" y="1400078"/>
          <a:ext cx="6262418" cy="530599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00266"/>
                <a:gridCol w="1003071"/>
                <a:gridCol w="759081"/>
              </a:tblGrid>
              <a:tr h="4622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правление расходов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жбюджетные трансферт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тный</a:t>
                      </a:r>
                      <a:r>
                        <a:rPr lang="ru-RU" sz="8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бюдж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4547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авление молодым семьям социальных выплат на приобретение </a:t>
                      </a:r>
                      <a:endParaRPr lang="ru-RU" sz="1050" b="0" u="none" strike="noStrike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ctr"/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оительство) жиль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9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75000"/>
                        <a:alpha val="65000"/>
                      </a:schemeClr>
                    </a:solidFill>
                  </a:tcPr>
                </a:tc>
              </a:tr>
              <a:tr h="39685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мена оконных блоков в муниципальных дошкольных </a:t>
                      </a:r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овательных</a:t>
                      </a:r>
                    </a:p>
                    <a:p>
                      <a:pPr algn="l" fontAlgn="ctr"/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х  и муниципальных общеобразовательных организациях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,6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4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75000"/>
                        <a:alpha val="65000"/>
                      </a:schemeClr>
                    </a:solidFill>
                  </a:tcPr>
                </a:tc>
              </a:tr>
              <a:tr h="34547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спечение </a:t>
                      </a:r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стойчивого сокращения непригодного для проживания </a:t>
                      </a:r>
                      <a:endParaRPr lang="ru-RU" sz="1050" b="0" u="none" strike="noStrike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ctr"/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илищного фонд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0,7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4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75000"/>
                        <a:alpha val="65000"/>
                      </a:schemeClr>
                    </a:solidFill>
                  </a:tcPr>
                </a:tc>
              </a:tr>
              <a:tr h="35441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спечение мероприятий по капитальному </a:t>
                      </a:r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монту</a:t>
                      </a:r>
                    </a:p>
                    <a:p>
                      <a:pPr algn="l" fontAlgn="ctr"/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огоквартирных </a:t>
                      </a:r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мо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1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75000"/>
                        <a:alpha val="65000"/>
                      </a:schemeClr>
                    </a:solidFill>
                  </a:tcPr>
                </a:tc>
              </a:tr>
              <a:tr h="34547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конструкция запасного поля с искусственным покрытием </a:t>
                      </a:r>
                      <a:endParaRPr lang="ru-RU" sz="1050" b="0" u="none" strike="noStrike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ctr"/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подогревом  </a:t>
                      </a:r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стадионе "Центральный" города Пятигорск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,7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5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75000"/>
                        <a:alpha val="65000"/>
                      </a:schemeClr>
                    </a:solidFill>
                  </a:tcPr>
                </a:tc>
              </a:tr>
              <a:tr h="210442"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Комплектование книжных фондов муниципальных библиотек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3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75000"/>
                        <a:alpha val="65000"/>
                      </a:schemeClr>
                    </a:solidFill>
                  </a:tcPr>
                </a:tc>
              </a:tr>
              <a:tr h="210442"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ходы на формирование современной городской среды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0,0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2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75000"/>
                        <a:alpha val="65000"/>
                      </a:schemeClr>
                    </a:solidFill>
                  </a:tcPr>
                </a:tc>
              </a:tr>
              <a:tr h="210442"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итальный ремонт дорог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2,0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,3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75000"/>
                        <a:alpha val="65000"/>
                      </a:schemeClr>
                    </a:solidFill>
                  </a:tcPr>
                </a:tc>
              </a:tr>
              <a:tr h="515881"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оительство подъездной дороги от пересечения ул. Маршала </a:t>
                      </a:r>
                      <a:endParaRPr lang="ru-RU" sz="1050" b="0" u="none" strike="noStrike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b"/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грамяна</a:t>
                      </a:r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ул. Рябиновая и ул. Липовая к </a:t>
                      </a:r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огоквартирному </a:t>
                      </a:r>
                    </a:p>
                    <a:p>
                      <a:pPr algn="l" fontAlgn="b"/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илому </a:t>
                      </a:r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му по адресу: пер. Малиновского 13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,9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2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75000"/>
                        <a:alpha val="65000"/>
                      </a:schemeClr>
                    </a:solidFill>
                  </a:tcPr>
                </a:tc>
              </a:tr>
              <a:tr h="236977"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урортный сбор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,4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75000"/>
                        <a:alpha val="65000"/>
                      </a:schemeClr>
                    </a:solidFill>
                  </a:tcPr>
                </a:tc>
              </a:tr>
              <a:tr h="238839"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дернизация  детских </a:t>
                      </a:r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кол </a:t>
                      </a:r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скусст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,9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4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75000"/>
                        <a:alpha val="65000"/>
                      </a:schemeClr>
                    </a:solidFill>
                  </a:tcPr>
                </a:tc>
              </a:tr>
              <a:tr h="345478"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ие информационно-пропагандистских мероприятий, </a:t>
                      </a:r>
                      <a:endParaRPr lang="ru-RU" sz="1050" b="0" u="none" strike="noStrike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b"/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правленных </a:t>
                      </a:r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профилактику идеологии терроризм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75000"/>
                        <a:alpha val="65000"/>
                      </a:schemeClr>
                    </a:solidFill>
                  </a:tcPr>
                </a:tc>
              </a:tr>
              <a:tr h="4644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</a:t>
                      </a:r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сплатного горячего питания обучающихся, </a:t>
                      </a:r>
                      <a:endParaRPr lang="ru-RU" sz="1050" b="0" u="none" strike="noStrike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ctr"/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лучающих </a:t>
                      </a:r>
                      <a:r>
                        <a:rPr lang="ru-RU" sz="105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чальное общее </a:t>
                      </a:r>
                      <a:r>
                        <a:rPr lang="ru-RU" sz="1050" b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ование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5,5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,0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75000"/>
                        <a:alpha val="65000"/>
                      </a:schemeClr>
                    </a:solidFill>
                  </a:tcPr>
                </a:tc>
              </a:tr>
              <a:tr h="21044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97,7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,9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75000"/>
                        <a:alpha val="65000"/>
                      </a:schemeClr>
                    </a:solidFill>
                  </a:tcPr>
                </a:tc>
              </a:tr>
              <a:tr h="383346">
                <a:tc>
                  <a:txBody>
                    <a:bodyPr/>
                    <a:lstStyle/>
                    <a:p>
                      <a:pPr algn="ctr" fontAlgn="b">
                        <a:lnSpc>
                          <a:spcPts val="1400"/>
                        </a:lnSpc>
                      </a:pPr>
                      <a:r>
                        <a:rPr lang="ru-RU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влечено из вышестоящих бюджетов </a:t>
                      </a:r>
                      <a:endParaRPr lang="ru-RU" sz="1400" b="1" u="none" strike="noStrike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fontAlgn="b">
                        <a:lnSpc>
                          <a:spcPts val="1400"/>
                        </a:lnSpc>
                      </a:pPr>
                      <a:r>
                        <a:rPr lang="ru-RU" sz="14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</a:t>
                      </a:r>
                      <a:r>
                        <a:rPr lang="ru-RU" sz="16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рубль </a:t>
                      </a:r>
                      <a:r>
                        <a:rPr lang="ru-RU" sz="14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тного бюджет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,53 рубля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89" marR="4389" marT="4389" marB="0" anchor="ctr">
                    <a:cell3D prstMaterial="dkEdge">
                      <a:bevel prst="coolSlant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35" name="Рисунок 34" descr="https://st2.depositphotos.com/3159197/8242/i/950/depositphotos_82422716-stock-photo-3d-horseshoe-magnet-attracting-golden.jpg"/>
          <p:cNvPicPr/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521" b="89323" l="391" r="9882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017007"/>
            <a:ext cx="2786013" cy="20089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6152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1190625" y="361350"/>
            <a:ext cx="7953375" cy="67627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4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НОВЫЕ НАПРАВЛЕНИЯ РАСХОДОВ В 2021 г.</a:t>
            </a:r>
          </a:p>
        </p:txBody>
      </p:sp>
      <p:grpSp>
        <p:nvGrpSpPr>
          <p:cNvPr id="2" name="Группа 11"/>
          <p:cNvGrpSpPr/>
          <p:nvPr/>
        </p:nvGrpSpPr>
        <p:grpSpPr>
          <a:xfrm>
            <a:off x="5105607" y="1394490"/>
            <a:ext cx="1843603" cy="1613238"/>
            <a:chOff x="458870" y="1185566"/>
            <a:chExt cx="1267892" cy="1028590"/>
          </a:xfrm>
          <a:solidFill>
            <a:schemeClr val="accent6">
              <a:lumMod val="75000"/>
            </a:schemeClr>
          </a:solidFill>
        </p:grpSpPr>
        <p:sp>
          <p:nvSpPr>
            <p:cNvPr id="9" name="Прямоугольник 8"/>
            <p:cNvSpPr/>
            <p:nvPr/>
          </p:nvSpPr>
          <p:spPr>
            <a:xfrm>
              <a:off x="458871" y="1638092"/>
              <a:ext cx="1267890" cy="576064"/>
            </a:xfrm>
            <a:prstGeom prst="rect">
              <a:avLst/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8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407,4</a:t>
              </a:r>
              <a:endParaRPr lang="ru-RU" sz="48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58870" y="1185566"/>
              <a:ext cx="1267892" cy="37284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3200" b="1" dirty="0" smtClean="0">
                  <a:solidFill>
                    <a:prstClr val="black"/>
                  </a:solidFill>
                  <a:latin typeface="+mn-lt"/>
                </a:rPr>
                <a:t>2021 год</a:t>
              </a:r>
              <a:endParaRPr lang="ru-RU" sz="3200" b="1" dirty="0">
                <a:solidFill>
                  <a:prstClr val="black"/>
                </a:solidFill>
                <a:latin typeface="+mn-lt"/>
              </a:endParaRPr>
            </a:p>
          </p:txBody>
        </p:sp>
      </p:grpSp>
      <p:sp>
        <p:nvSpPr>
          <p:cNvPr id="26" name="Прямоугольник 25"/>
          <p:cNvSpPr>
            <a:spLocks noChangeArrowheads="1"/>
          </p:cNvSpPr>
          <p:nvPr/>
        </p:nvSpPr>
        <p:spPr bwMode="auto">
          <a:xfrm>
            <a:off x="5158942" y="3261233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-18932" y="2206828"/>
            <a:ext cx="3039086" cy="2639327"/>
            <a:chOff x="-12484" y="1453267"/>
            <a:chExt cx="3497556" cy="3534202"/>
          </a:xfrm>
        </p:grpSpPr>
        <p:sp>
          <p:nvSpPr>
            <p:cNvPr id="36" name="TextBox 35"/>
            <p:cNvSpPr txBox="1"/>
            <p:nvPr/>
          </p:nvSpPr>
          <p:spPr>
            <a:xfrm>
              <a:off x="409130" y="2382222"/>
              <a:ext cx="1396588" cy="5368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tx2">
                      <a:lumMod val="10000"/>
                    </a:schemeClr>
                  </a:solidFill>
                  <a:latin typeface="Arial" pitchFamily="34" charset="0"/>
                  <a:cs typeface="Arial" pitchFamily="34" charset="0"/>
                </a:rPr>
                <a:t>Количество получателей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679038" y="2297219"/>
              <a:ext cx="1760332" cy="6711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 smtClean="0">
                  <a:solidFill>
                    <a:schemeClr val="tx2">
                      <a:lumMod val="10000"/>
                    </a:schemeClr>
                  </a:solidFill>
                  <a:latin typeface="Arial" pitchFamily="34" charset="0"/>
                  <a:cs typeface="Arial" pitchFamily="34" charset="0"/>
                </a:rPr>
                <a:t>Стоимость питания </a:t>
              </a:r>
            </a:p>
            <a:p>
              <a:pPr algn="ctr"/>
              <a:r>
                <a:rPr lang="ru-RU" sz="800" b="1" dirty="0" smtClean="0">
                  <a:solidFill>
                    <a:schemeClr val="tx2">
                      <a:lumMod val="10000"/>
                    </a:schemeClr>
                  </a:solidFill>
                  <a:latin typeface="Arial" pitchFamily="34" charset="0"/>
                  <a:cs typeface="Arial" pitchFamily="34" charset="0"/>
                </a:rPr>
                <a:t>1 ребенка в день</a:t>
              </a:r>
            </a:p>
          </p:txBody>
        </p:sp>
        <p:grpSp>
          <p:nvGrpSpPr>
            <p:cNvPr id="6" name="Группа 35"/>
            <p:cNvGrpSpPr/>
            <p:nvPr/>
          </p:nvGrpSpPr>
          <p:grpSpPr>
            <a:xfrm>
              <a:off x="-12484" y="1453267"/>
              <a:ext cx="3497554" cy="2198487"/>
              <a:chOff x="3425204" y="838041"/>
              <a:chExt cx="2486534" cy="1132376"/>
            </a:xfrm>
          </p:grpSpPr>
          <p:sp>
            <p:nvSpPr>
              <p:cNvPr id="12" name="Скругленный прямоугольник 11"/>
              <p:cNvSpPr/>
              <p:nvPr>
                <p:custDataLst>
                  <p:tags r:id="rId4"/>
                </p:custDataLst>
              </p:nvPr>
            </p:nvSpPr>
            <p:spPr>
              <a:xfrm>
                <a:off x="3619495" y="1620063"/>
                <a:ext cx="1036540" cy="343482"/>
              </a:xfrm>
              <a:prstGeom prst="roundRect">
                <a:avLst>
                  <a:gd name="adj" fmla="val 50000"/>
                </a:avLst>
              </a:prstGeom>
              <a:solidFill>
                <a:srgbClr val="FFDE75">
                  <a:alpha val="80000"/>
                </a:srgb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>
                <a:scene3d>
                  <a:camera prst="orthographicFront"/>
                  <a:lightRig rig="balanced" dir="t">
                    <a:rot lat="0" lon="0" rev="2100000"/>
                  </a:lightRig>
                </a:scene3d>
                <a:sp3d extrusionH="57150" prstMaterial="metal">
                  <a:bevelT w="38100" h="25400"/>
                  <a:contourClr>
                    <a:schemeClr val="bg2"/>
                  </a:contourClr>
                </a:sp3d>
              </a:bodyPr>
              <a:lstStyle/>
              <a:p>
                <a:pPr algn="ctr">
                  <a:tabLst>
                    <a:tab pos="542925" algn="l"/>
                  </a:tabLst>
                </a:pPr>
                <a:r>
                  <a:rPr lang="ru-RU" sz="1400" b="1" dirty="0" smtClean="0">
                    <a:ln w="50800"/>
                    <a:solidFill>
                      <a:schemeClr val="bg1">
                        <a:shade val="50000"/>
                      </a:schemeClr>
                    </a:solidFill>
                    <a:latin typeface="+mj-lt"/>
                    <a:cs typeface="Times New Roman" pitchFamily="18" charset="0"/>
                  </a:rPr>
                  <a:t>9 373</a:t>
                </a:r>
                <a:endParaRPr lang="ru-RU" sz="1400" b="1" dirty="0">
                  <a:ln w="50800"/>
                  <a:solidFill>
                    <a:schemeClr val="bg1">
                      <a:shade val="50000"/>
                    </a:schemeClr>
                  </a:solidFill>
                  <a:latin typeface="+mj-lt"/>
                  <a:cs typeface="Times New Roman" pitchFamily="18" charset="0"/>
                </a:endParaRPr>
              </a:p>
            </p:txBody>
          </p:sp>
          <p:sp>
            <p:nvSpPr>
              <p:cNvPr id="13" name="AutoShape 32"/>
              <p:cNvSpPr>
                <a:spLocks noChangeArrowheads="1"/>
              </p:cNvSpPr>
              <p:nvPr/>
            </p:nvSpPr>
            <p:spPr bwMode="auto">
              <a:xfrm>
                <a:off x="3425204" y="838041"/>
                <a:ext cx="2486534" cy="482797"/>
              </a:xfrm>
              <a:prstGeom prst="roundRect">
                <a:avLst>
                  <a:gd name="adj" fmla="val 16667"/>
                </a:avLst>
              </a:prstGeom>
              <a:solidFill>
                <a:srgbClr val="A5C4E9">
                  <a:alpha val="49000"/>
                </a:srgb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square" lIns="108000" tIns="72000" bIns="72000" anchor="ctr"/>
              <a:lstStyle/>
              <a:p>
                <a:pPr algn="ctr">
                  <a:lnSpc>
                    <a:spcPts val="1800"/>
                  </a:lnSpc>
                </a:pPr>
                <a:r>
                  <a:rPr lang="ru-RU" sz="1400" b="1" dirty="0" smtClean="0">
                    <a:solidFill>
                      <a:srgbClr val="002060"/>
                    </a:solidFill>
                    <a:latin typeface="Arial" pitchFamily="34" charset="0"/>
                    <a:cs typeface="Arial" pitchFamily="34" charset="0"/>
                  </a:rPr>
                  <a:t>Горячее питание обучающихся</a:t>
                </a:r>
              </a:p>
              <a:p>
                <a:pPr algn="ctr">
                  <a:lnSpc>
                    <a:spcPts val="1800"/>
                  </a:lnSpc>
                </a:pPr>
                <a:r>
                  <a:rPr lang="ru-RU" sz="1400" b="1" dirty="0" smtClean="0">
                    <a:solidFill>
                      <a:srgbClr val="002060"/>
                    </a:solidFill>
                    <a:latin typeface="Arial" pitchFamily="34" charset="0"/>
                    <a:cs typeface="Arial" pitchFamily="34" charset="0"/>
                  </a:rPr>
                  <a:t> 1-4 классов </a:t>
                </a:r>
              </a:p>
            </p:txBody>
          </p:sp>
          <p:sp>
            <p:nvSpPr>
              <p:cNvPr id="38" name="Скругленный прямоугольник 37"/>
              <p:cNvSpPr/>
              <p:nvPr>
                <p:custDataLst>
                  <p:tags r:id="rId5"/>
                </p:custDataLst>
              </p:nvPr>
            </p:nvSpPr>
            <p:spPr>
              <a:xfrm>
                <a:off x="4735238" y="1626935"/>
                <a:ext cx="1036540" cy="343482"/>
              </a:xfrm>
              <a:prstGeom prst="roundRect">
                <a:avLst>
                  <a:gd name="adj" fmla="val 50000"/>
                </a:avLst>
              </a:prstGeom>
              <a:solidFill>
                <a:srgbClr val="FFDE75">
                  <a:alpha val="80000"/>
                </a:srgb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>
                <a:scene3d>
                  <a:camera prst="orthographicFront"/>
                  <a:lightRig rig="balanced" dir="t">
                    <a:rot lat="0" lon="0" rev="2100000"/>
                  </a:lightRig>
                </a:scene3d>
                <a:sp3d extrusionH="57150" prstMaterial="metal">
                  <a:bevelT w="38100" h="25400"/>
                  <a:contourClr>
                    <a:schemeClr val="bg2"/>
                  </a:contourClr>
                </a:sp3d>
              </a:bodyPr>
              <a:lstStyle/>
              <a:p>
                <a:pPr algn="ctr">
                  <a:tabLst>
                    <a:tab pos="542925" algn="l"/>
                  </a:tabLst>
                </a:pPr>
                <a:r>
                  <a:rPr lang="ru-RU" sz="1400" b="1" dirty="0" smtClean="0">
                    <a:ln w="50800"/>
                    <a:solidFill>
                      <a:schemeClr val="bg1">
                        <a:shade val="50000"/>
                      </a:schemeClr>
                    </a:solidFill>
                    <a:latin typeface="+mj-lt"/>
                    <a:cs typeface="Times New Roman" pitchFamily="18" charset="0"/>
                  </a:rPr>
                  <a:t>63,61 </a:t>
                </a:r>
                <a:r>
                  <a:rPr lang="ru-RU" sz="1050" b="1" dirty="0" smtClean="0">
                    <a:ln w="50800"/>
                    <a:solidFill>
                      <a:schemeClr val="bg1">
                        <a:shade val="50000"/>
                      </a:schemeClr>
                    </a:solidFill>
                    <a:latin typeface="+mj-lt"/>
                    <a:cs typeface="Times New Roman" pitchFamily="18" charset="0"/>
                  </a:rPr>
                  <a:t>руб.</a:t>
                </a:r>
                <a:endParaRPr lang="ru-RU" sz="1400" b="1" dirty="0">
                  <a:ln w="50800"/>
                  <a:solidFill>
                    <a:schemeClr val="bg1">
                      <a:shade val="50000"/>
                    </a:schemeClr>
                  </a:solidFill>
                  <a:latin typeface="+mj-lt"/>
                  <a:cs typeface="Times New Roman" pitchFamily="18" charset="0"/>
                </a:endParaRPr>
              </a:p>
            </p:txBody>
          </p:sp>
        </p:grpSp>
        <p:sp>
          <p:nvSpPr>
            <p:cNvPr id="34" name="Овал 33"/>
            <p:cNvSpPr/>
            <p:nvPr/>
          </p:nvSpPr>
          <p:spPr>
            <a:xfrm>
              <a:off x="969277" y="3651754"/>
              <a:ext cx="1514405" cy="509384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1177735" y="3727480"/>
              <a:ext cx="1108019" cy="3579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600" b="1" dirty="0" smtClean="0">
                  <a:solidFill>
                    <a:srgbClr val="002060"/>
                  </a:solidFill>
                </a:rPr>
                <a:t>100,6</a:t>
              </a:r>
              <a:endParaRPr lang="ru-RU" sz="1600" b="1" dirty="0">
                <a:solidFill>
                  <a:srgbClr val="002060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02654" y="4157050"/>
              <a:ext cx="1244440" cy="5368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tx2">
                      <a:lumMod val="10000"/>
                    </a:schemeClr>
                  </a:solidFill>
                  <a:latin typeface="Arial" pitchFamily="34" charset="0"/>
                  <a:cs typeface="Arial" pitchFamily="34" charset="0"/>
                </a:rPr>
                <a:t>местный бюджет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914708" y="4128864"/>
              <a:ext cx="1570364" cy="5368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dirty="0">
                  <a:solidFill>
                    <a:schemeClr val="tx2">
                      <a:lumMod val="10000"/>
                    </a:schemeClr>
                  </a:solidFill>
                  <a:latin typeface="Arial" pitchFamily="34" charset="0"/>
                  <a:cs typeface="Arial" pitchFamily="34" charset="0"/>
                </a:rPr>
                <a:t>м</a:t>
              </a:r>
              <a:r>
                <a:rPr lang="ru-RU" sz="900" b="1" dirty="0" smtClean="0">
                  <a:solidFill>
                    <a:schemeClr val="tx2">
                      <a:lumMod val="10000"/>
                    </a:schemeClr>
                  </a:solidFill>
                  <a:latin typeface="Arial" pitchFamily="34" charset="0"/>
                  <a:cs typeface="Arial" pitchFamily="34" charset="0"/>
                </a:rPr>
                <a:t>ежбюджетные трансферты</a:t>
              </a: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205267" y="4620121"/>
              <a:ext cx="1108019" cy="3579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400" b="1" dirty="0" smtClean="0">
                  <a:solidFill>
                    <a:srgbClr val="002060"/>
                  </a:solidFill>
                </a:rPr>
                <a:t>5,03</a:t>
              </a:r>
              <a:endParaRPr lang="ru-RU" sz="1400" b="1" dirty="0">
                <a:solidFill>
                  <a:srgbClr val="002060"/>
                </a:solidFill>
              </a:endParaRPr>
            </a:p>
          </p:txBody>
        </p:sp>
        <p:sp>
          <p:nvSpPr>
            <p:cNvPr id="42" name="Овал 41"/>
            <p:cNvSpPr/>
            <p:nvPr/>
          </p:nvSpPr>
          <p:spPr>
            <a:xfrm>
              <a:off x="195156" y="4622954"/>
              <a:ext cx="1379423" cy="357459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  <p:sp>
          <p:nvSpPr>
            <p:cNvPr id="43" name="Овал 42"/>
            <p:cNvSpPr/>
            <p:nvPr/>
          </p:nvSpPr>
          <p:spPr>
            <a:xfrm>
              <a:off x="1984269" y="4629538"/>
              <a:ext cx="1379423" cy="357459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2227968" y="4629538"/>
              <a:ext cx="892021" cy="3579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400" b="1" dirty="0" smtClean="0">
                  <a:solidFill>
                    <a:srgbClr val="002060"/>
                  </a:solidFill>
                </a:rPr>
                <a:t>95,6</a:t>
              </a:r>
              <a:endParaRPr lang="ru-RU" sz="1400" b="1" dirty="0">
                <a:solidFill>
                  <a:srgbClr val="002060"/>
                </a:solidFill>
              </a:endParaRPr>
            </a:p>
          </p:txBody>
        </p:sp>
      </p:grpSp>
      <p:pic>
        <p:nvPicPr>
          <p:cNvPr id="46" name="Рисунок 45" descr="https://st3.depositphotos.com/7700582/15812/v/950/depositphotos_158123236-stock-illustration-the-child-eats-breakfast-that.jpg"/>
          <p:cNvPicPr/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9961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824" y="4846156"/>
            <a:ext cx="1503475" cy="161407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Группа 5"/>
          <p:cNvGrpSpPr/>
          <p:nvPr/>
        </p:nvGrpSpPr>
        <p:grpSpPr>
          <a:xfrm>
            <a:off x="3147501" y="2744881"/>
            <a:ext cx="1949569" cy="2142156"/>
            <a:chOff x="5900469" y="1464601"/>
            <a:chExt cx="3243531" cy="2671896"/>
          </a:xfrm>
        </p:grpSpPr>
        <p:grpSp>
          <p:nvGrpSpPr>
            <p:cNvPr id="8" name="Группа 35"/>
            <p:cNvGrpSpPr/>
            <p:nvPr/>
          </p:nvGrpSpPr>
          <p:grpSpPr>
            <a:xfrm>
              <a:off x="5900469" y="1464601"/>
              <a:ext cx="3243531" cy="2072260"/>
              <a:chOff x="3425205" y="893255"/>
              <a:chExt cx="2391039" cy="1077162"/>
            </a:xfrm>
          </p:grpSpPr>
          <p:sp>
            <p:nvSpPr>
              <p:cNvPr id="48" name="Скругленный прямоугольник 47"/>
              <p:cNvSpPr/>
              <p:nvPr>
                <p:custDataLst>
                  <p:tags r:id="rId2"/>
                </p:custDataLst>
              </p:nvPr>
            </p:nvSpPr>
            <p:spPr>
              <a:xfrm>
                <a:off x="3531002" y="1620063"/>
                <a:ext cx="1125033" cy="343482"/>
              </a:xfrm>
              <a:prstGeom prst="roundRect">
                <a:avLst>
                  <a:gd name="adj" fmla="val 50000"/>
                </a:avLst>
              </a:prstGeom>
              <a:solidFill>
                <a:srgbClr val="FFDE75">
                  <a:alpha val="80000"/>
                </a:srgb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>
                <a:scene3d>
                  <a:camera prst="orthographicFront"/>
                  <a:lightRig rig="balanced" dir="t">
                    <a:rot lat="0" lon="0" rev="2100000"/>
                  </a:lightRig>
                </a:scene3d>
                <a:sp3d extrusionH="57150" prstMaterial="metal">
                  <a:bevelT w="38100" h="25400"/>
                  <a:contourClr>
                    <a:schemeClr val="bg2"/>
                  </a:contourClr>
                </a:sp3d>
              </a:bodyPr>
              <a:lstStyle/>
              <a:p>
                <a:pPr algn="ctr">
                  <a:tabLst>
                    <a:tab pos="542925" algn="l"/>
                  </a:tabLst>
                </a:pPr>
                <a:r>
                  <a:rPr lang="ru-RU" sz="1400" b="1" dirty="0" smtClean="0">
                    <a:ln w="50800"/>
                    <a:solidFill>
                      <a:schemeClr val="bg1">
                        <a:shade val="50000"/>
                      </a:schemeClr>
                    </a:solidFill>
                    <a:latin typeface="+mj-lt"/>
                    <a:cs typeface="Times New Roman" pitchFamily="18" charset="0"/>
                  </a:rPr>
                  <a:t>758</a:t>
                </a:r>
                <a:endParaRPr lang="ru-RU" sz="1400" b="1" dirty="0">
                  <a:ln w="50800"/>
                  <a:solidFill>
                    <a:schemeClr val="bg1">
                      <a:shade val="50000"/>
                    </a:schemeClr>
                  </a:solidFill>
                  <a:latin typeface="+mj-lt"/>
                  <a:cs typeface="Times New Roman" pitchFamily="18" charset="0"/>
                </a:endParaRPr>
              </a:p>
            </p:txBody>
          </p:sp>
          <p:sp>
            <p:nvSpPr>
              <p:cNvPr id="49" name="AutoShape 32"/>
              <p:cNvSpPr>
                <a:spLocks noChangeArrowheads="1"/>
              </p:cNvSpPr>
              <p:nvPr/>
            </p:nvSpPr>
            <p:spPr bwMode="auto">
              <a:xfrm>
                <a:off x="3425205" y="893255"/>
                <a:ext cx="2391039" cy="329275"/>
              </a:xfrm>
              <a:prstGeom prst="roundRect">
                <a:avLst>
                  <a:gd name="adj" fmla="val 16667"/>
                </a:avLst>
              </a:prstGeom>
              <a:solidFill>
                <a:srgbClr val="A5C4E9">
                  <a:alpha val="49000"/>
                </a:srgb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square" lIns="108000" tIns="72000" bIns="72000" anchor="ctr"/>
              <a:lstStyle/>
              <a:p>
                <a:pPr algn="ctr">
                  <a:lnSpc>
                    <a:spcPts val="1800"/>
                  </a:lnSpc>
                </a:pPr>
                <a:r>
                  <a:rPr lang="ru-RU" sz="1400" b="1" dirty="0">
                    <a:solidFill>
                      <a:srgbClr val="002060"/>
                    </a:solidFill>
                    <a:latin typeface="Arial" pitchFamily="34" charset="0"/>
                    <a:cs typeface="Arial" pitchFamily="34" charset="0"/>
                  </a:rPr>
                  <a:t>Классное руководство</a:t>
                </a:r>
              </a:p>
            </p:txBody>
          </p:sp>
          <p:sp>
            <p:nvSpPr>
              <p:cNvPr id="50" name="Скругленный прямоугольник 49"/>
              <p:cNvSpPr/>
              <p:nvPr>
                <p:custDataLst>
                  <p:tags r:id="rId3"/>
                </p:custDataLst>
              </p:nvPr>
            </p:nvSpPr>
            <p:spPr>
              <a:xfrm>
                <a:off x="4735238" y="1626935"/>
                <a:ext cx="1081006" cy="343482"/>
              </a:xfrm>
              <a:prstGeom prst="roundRect">
                <a:avLst>
                  <a:gd name="adj" fmla="val 50000"/>
                </a:avLst>
              </a:prstGeom>
              <a:solidFill>
                <a:srgbClr val="FFDE75">
                  <a:alpha val="80000"/>
                </a:srgb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>
                <a:scene3d>
                  <a:camera prst="orthographicFront"/>
                  <a:lightRig rig="balanced" dir="t">
                    <a:rot lat="0" lon="0" rev="2100000"/>
                  </a:lightRig>
                </a:scene3d>
                <a:sp3d extrusionH="57150" prstMaterial="metal">
                  <a:bevelT w="38100" h="25400"/>
                  <a:contourClr>
                    <a:schemeClr val="bg2"/>
                  </a:contourClr>
                </a:sp3d>
              </a:bodyPr>
              <a:lstStyle/>
              <a:p>
                <a:pPr algn="ctr">
                  <a:tabLst>
                    <a:tab pos="542925" algn="l"/>
                  </a:tabLst>
                </a:pPr>
                <a:r>
                  <a:rPr lang="ru-RU" sz="1400" b="1" dirty="0" smtClean="0">
                    <a:ln w="50800"/>
                    <a:solidFill>
                      <a:schemeClr val="bg1">
                        <a:shade val="50000"/>
                      </a:schemeClr>
                    </a:solidFill>
                    <a:latin typeface="+mj-lt"/>
                    <a:cs typeface="Times New Roman" pitchFamily="18" charset="0"/>
                  </a:rPr>
                  <a:t>5000 </a:t>
                </a:r>
                <a:r>
                  <a:rPr lang="ru-RU" sz="1100" b="1" dirty="0">
                    <a:ln w="50800"/>
                    <a:solidFill>
                      <a:schemeClr val="bg1">
                        <a:shade val="50000"/>
                      </a:schemeClr>
                    </a:solidFill>
                    <a:cs typeface="Times New Roman" pitchFamily="18" charset="0"/>
                  </a:rPr>
                  <a:t>руб.</a:t>
                </a:r>
                <a:endParaRPr lang="ru-RU" sz="1100" b="1" dirty="0">
                  <a:ln w="50800"/>
                  <a:solidFill>
                    <a:schemeClr val="bg1">
                      <a:shade val="50000"/>
                    </a:schemeClr>
                  </a:solidFill>
                  <a:latin typeface="+mj-lt"/>
                  <a:cs typeface="Times New Roman" pitchFamily="18" charset="0"/>
                </a:endParaRPr>
              </a:p>
            </p:txBody>
          </p:sp>
        </p:grpSp>
        <p:sp>
          <p:nvSpPr>
            <p:cNvPr id="51" name="Овал 50"/>
            <p:cNvSpPr/>
            <p:nvPr/>
          </p:nvSpPr>
          <p:spPr>
            <a:xfrm>
              <a:off x="6791981" y="3631748"/>
              <a:ext cx="1460506" cy="504749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6987941" y="3698941"/>
              <a:ext cx="1068585" cy="3703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600" b="1" dirty="0" smtClean="0">
                  <a:solidFill>
                    <a:srgbClr val="002060"/>
                  </a:solidFill>
                </a:rPr>
                <a:t>59,2</a:t>
              </a:r>
              <a:endParaRPr lang="ru-RU" sz="1600" b="1" dirty="0">
                <a:solidFill>
                  <a:srgbClr val="002060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6043986" y="2326038"/>
              <a:ext cx="1633590" cy="5079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dirty="0" smtClean="0">
                  <a:solidFill>
                    <a:schemeClr val="tx2">
                      <a:lumMod val="10000"/>
                    </a:schemeClr>
                  </a:solidFill>
                  <a:latin typeface="Arial" pitchFamily="34" charset="0"/>
                  <a:cs typeface="Arial" pitchFamily="34" charset="0"/>
                </a:rPr>
                <a:t>Количество получателей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7638666" y="2412383"/>
              <a:ext cx="1458469" cy="4655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 smtClean="0">
                  <a:solidFill>
                    <a:schemeClr val="tx2">
                      <a:lumMod val="10000"/>
                    </a:schemeClr>
                  </a:solidFill>
                  <a:latin typeface="Arial" pitchFamily="34" charset="0"/>
                  <a:cs typeface="Arial" pitchFamily="34" charset="0"/>
                </a:rPr>
                <a:t>Размер выплаты</a:t>
              </a:r>
            </a:p>
          </p:txBody>
        </p:sp>
      </p:grpSp>
      <p:pic>
        <p:nvPicPr>
          <p:cNvPr id="55" name="Рисунок 54" descr="https://i7.pngflow.com/pngimage/823/588/png-blackboard-cartoon-teachers-cartoon-teacher-blackboard-woman-clipart.png"/>
          <p:cNvPicPr/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89883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9055" y="4866250"/>
            <a:ext cx="1881616" cy="1896981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Заголовок 2"/>
          <p:cNvSpPr txBox="1">
            <a:spLocks/>
          </p:cNvSpPr>
          <p:nvPr/>
        </p:nvSpPr>
        <p:spPr>
          <a:xfrm>
            <a:off x="237797" y="1477819"/>
            <a:ext cx="4831104" cy="59300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1400" b="1" kern="0" spc="0" dirty="0" smtClean="0">
                <a:ln w="50800"/>
                <a:solidFill>
                  <a:schemeClr val="bg1"/>
                </a:solidFill>
                <a:effectLst/>
                <a:latin typeface="Arial"/>
              </a:rPr>
              <a:t>РЕАЛИЗАЦИЯ ОСНОВНЫХ ПОЛОЖЕНИЙ </a:t>
            </a:r>
          </a:p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1400" b="1" kern="0" spc="0" dirty="0" smtClean="0">
                <a:ln w="50800"/>
                <a:solidFill>
                  <a:schemeClr val="bg1"/>
                </a:solidFill>
                <a:effectLst/>
                <a:latin typeface="Arial"/>
              </a:rPr>
              <a:t>ПОСЛАНИЯ ПРЕЗИДЕНТА РФ</a:t>
            </a:r>
          </a:p>
        </p:txBody>
      </p:sp>
      <p:sp>
        <p:nvSpPr>
          <p:cNvPr id="56" name="Заголовок 2"/>
          <p:cNvSpPr txBox="1">
            <a:spLocks/>
          </p:cNvSpPr>
          <p:nvPr/>
        </p:nvSpPr>
        <p:spPr>
          <a:xfrm>
            <a:off x="7143398" y="1682149"/>
            <a:ext cx="1912143" cy="524679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1400" b="1" kern="0" spc="0" dirty="0">
                <a:ln w="50800"/>
                <a:solidFill>
                  <a:schemeClr val="bg1"/>
                </a:solidFill>
                <a:effectLst/>
                <a:latin typeface="Arial"/>
              </a:rPr>
              <a:t>ВЫБОРЫ</a:t>
            </a:r>
          </a:p>
        </p:txBody>
      </p:sp>
      <p:pic>
        <p:nvPicPr>
          <p:cNvPr id="57" name="Рисунок 56" descr="https://pbs.twimg.com/media/EZcD1MsWkAIXHiS.jpg:large"/>
          <p:cNvPicPr/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315" y="1979265"/>
            <a:ext cx="2011685" cy="1803112"/>
          </a:xfrm>
          <a:prstGeom prst="rect">
            <a:avLst/>
          </a:prstGeom>
          <a:noFill/>
          <a:ln>
            <a:noFill/>
          </a:ln>
        </p:spPr>
      </p:pic>
      <p:sp>
        <p:nvSpPr>
          <p:cNvPr id="58" name="Овал 57"/>
          <p:cNvSpPr/>
          <p:nvPr/>
        </p:nvSpPr>
        <p:spPr>
          <a:xfrm>
            <a:off x="7650918" y="2257417"/>
            <a:ext cx="966871" cy="33699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/>
          </a:p>
        </p:txBody>
      </p:sp>
      <p:sp>
        <p:nvSpPr>
          <p:cNvPr id="59" name="Прямоугольник 58"/>
          <p:cNvSpPr/>
          <p:nvPr/>
        </p:nvSpPr>
        <p:spPr>
          <a:xfrm>
            <a:off x="7689604" y="2257417"/>
            <a:ext cx="642288" cy="2693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t">
              <a:lnSpc>
                <a:spcPts val="1200"/>
              </a:lnSpc>
            </a:pPr>
            <a:r>
              <a:rPr lang="ru-RU" sz="1600" b="1" dirty="0" smtClean="0">
                <a:solidFill>
                  <a:srgbClr val="002060"/>
                </a:solidFill>
              </a:rPr>
              <a:t>9,9</a:t>
            </a:r>
            <a:endParaRPr lang="ru-RU" sz="1600" b="1" dirty="0">
              <a:solidFill>
                <a:srgbClr val="002060"/>
              </a:solidFill>
            </a:endParaRPr>
          </a:p>
        </p:txBody>
      </p:sp>
      <p:sp>
        <p:nvSpPr>
          <p:cNvPr id="60" name="Заголовок 2"/>
          <p:cNvSpPr txBox="1">
            <a:spLocks/>
          </p:cNvSpPr>
          <p:nvPr/>
        </p:nvSpPr>
        <p:spPr>
          <a:xfrm>
            <a:off x="5599050" y="3905201"/>
            <a:ext cx="2732842" cy="524679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1400" b="1" kern="0" spc="0" dirty="0" smtClean="0">
                <a:ln w="50800"/>
                <a:solidFill>
                  <a:schemeClr val="bg1"/>
                </a:solidFill>
                <a:effectLst/>
                <a:latin typeface="Arial"/>
              </a:rPr>
              <a:t>ВЫПЛАТЫ НА ДЕТЕЙ</a:t>
            </a:r>
          </a:p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1400" b="1" kern="0" spc="0" dirty="0" smtClean="0">
                <a:ln w="50800"/>
                <a:solidFill>
                  <a:schemeClr val="bg1"/>
                </a:solidFill>
                <a:effectLst/>
                <a:latin typeface="Arial"/>
              </a:rPr>
              <a:t> ОТ ТРЕХ ДО СЕМИ ЛЕТ</a:t>
            </a:r>
            <a:endParaRPr lang="ru-RU" sz="1400" b="1" kern="0" spc="0" dirty="0">
              <a:ln w="50800"/>
              <a:solidFill>
                <a:schemeClr val="bg1"/>
              </a:solidFill>
              <a:effectLst/>
              <a:latin typeface="Arial"/>
            </a:endParaRPr>
          </a:p>
        </p:txBody>
      </p:sp>
      <p:sp>
        <p:nvSpPr>
          <p:cNvPr id="61" name="Овал 60"/>
          <p:cNvSpPr/>
          <p:nvPr/>
        </p:nvSpPr>
        <p:spPr>
          <a:xfrm>
            <a:off x="7079844" y="4489502"/>
            <a:ext cx="877857" cy="40467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/>
          </a:p>
        </p:txBody>
      </p:sp>
      <p:sp>
        <p:nvSpPr>
          <p:cNvPr id="62" name="Прямоугольник 61"/>
          <p:cNvSpPr/>
          <p:nvPr/>
        </p:nvSpPr>
        <p:spPr>
          <a:xfrm>
            <a:off x="7079844" y="4565985"/>
            <a:ext cx="77019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t">
              <a:lnSpc>
                <a:spcPts val="1200"/>
              </a:lnSpc>
            </a:pPr>
            <a:r>
              <a:rPr lang="ru-RU" sz="1600" b="1" dirty="0" smtClean="0">
                <a:solidFill>
                  <a:srgbClr val="002060"/>
                </a:solidFill>
              </a:rPr>
              <a:t>237,7</a:t>
            </a:r>
            <a:endParaRPr lang="ru-RU" sz="1600" b="1" dirty="0">
              <a:solidFill>
                <a:srgbClr val="002060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665208" y="4375189"/>
            <a:ext cx="127660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Размер выплаты</a:t>
            </a:r>
          </a:p>
        </p:txBody>
      </p:sp>
      <p:sp>
        <p:nvSpPr>
          <p:cNvPr id="65" name="Скругленный прямоугольник 64"/>
          <p:cNvSpPr/>
          <p:nvPr>
            <p:custDataLst>
              <p:tags r:id="rId1"/>
            </p:custDataLst>
          </p:nvPr>
        </p:nvSpPr>
        <p:spPr>
          <a:xfrm>
            <a:off x="5703924" y="4610621"/>
            <a:ext cx="1199172" cy="577768"/>
          </a:xfrm>
          <a:prstGeom prst="roundRect">
            <a:avLst>
              <a:gd name="adj" fmla="val 50000"/>
            </a:avLst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>
              <a:tabLst>
                <a:tab pos="542925" algn="l"/>
              </a:tabLst>
            </a:pPr>
            <a:r>
              <a:rPr lang="ru-RU" sz="1200" b="1" dirty="0" smtClean="0">
                <a:ln w="50800"/>
                <a:solidFill>
                  <a:schemeClr val="bg1">
                    <a:shade val="50000"/>
                  </a:schemeClr>
                </a:solidFill>
                <a:latin typeface="+mj-lt"/>
                <a:cs typeface="Times New Roman" pitchFamily="18" charset="0"/>
              </a:rPr>
              <a:t>50%</a:t>
            </a:r>
            <a:r>
              <a:rPr lang="ru-RU" sz="900" b="1" dirty="0" smtClean="0">
                <a:ln w="50800"/>
                <a:solidFill>
                  <a:schemeClr val="bg1">
                    <a:shade val="50000"/>
                  </a:schemeClr>
                </a:solidFill>
                <a:latin typeface="+mj-lt"/>
                <a:cs typeface="Times New Roman" pitchFamily="18" charset="0"/>
              </a:rPr>
              <a:t> </a:t>
            </a:r>
          </a:p>
          <a:p>
            <a:pPr algn="ctr">
              <a:tabLst>
                <a:tab pos="542925" algn="l"/>
              </a:tabLst>
            </a:pPr>
            <a:r>
              <a:rPr lang="ru-RU" sz="900" b="1" dirty="0" smtClean="0">
                <a:ln w="50800"/>
                <a:solidFill>
                  <a:schemeClr val="bg1">
                    <a:shade val="50000"/>
                  </a:schemeClr>
                </a:solidFill>
                <a:latin typeface="+mj-lt"/>
                <a:cs typeface="Times New Roman" pitchFamily="18" charset="0"/>
              </a:rPr>
              <a:t>от прожиточного минимума</a:t>
            </a:r>
            <a:endParaRPr lang="ru-RU" sz="700" b="1" dirty="0">
              <a:ln w="50800"/>
              <a:solidFill>
                <a:schemeClr val="bg1">
                  <a:shade val="50000"/>
                </a:schemeClr>
              </a:solidFill>
              <a:latin typeface="+mj-lt"/>
              <a:cs typeface="Times New Roman" pitchFamily="18" charset="0"/>
            </a:endParaRPr>
          </a:p>
        </p:txBody>
      </p:sp>
      <p:pic>
        <p:nvPicPr>
          <p:cNvPr id="66" name="Рисунок 65" descr="https://logoznanie.ru/images/07016418.jpg"/>
          <p:cNvPicPr/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0" b="100000" l="0" r="9928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1747" y="4919574"/>
            <a:ext cx="1399519" cy="154065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76364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123950" y="250085"/>
            <a:ext cx="7858125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6088" indent="-446088" algn="ctr">
              <a:lnSpc>
                <a:spcPct val="80000"/>
              </a:lnSpc>
              <a:defRPr/>
            </a:pPr>
            <a:r>
              <a:rPr lang="ru-RU" altLang="ru-RU" sz="28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ea typeface="+mj-ea"/>
                <a:cs typeface="+mj-cs"/>
              </a:rPr>
              <a:t>Повышение оплаты труда работников муниципальных учреждений </a:t>
            </a: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2330996409"/>
              </p:ext>
            </p:extLst>
          </p:nvPr>
        </p:nvGraphicFramePr>
        <p:xfrm>
          <a:off x="3438525" y="4457700"/>
          <a:ext cx="5543550" cy="177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4238268619"/>
              </p:ext>
            </p:extLst>
          </p:nvPr>
        </p:nvGraphicFramePr>
        <p:xfrm>
          <a:off x="3657600" y="2187838"/>
          <a:ext cx="5324475" cy="19479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501687" y="4557176"/>
            <a:ext cx="3095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5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МРОТ, руб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171951" y="2010673"/>
            <a:ext cx="48101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5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Среднемесячный доход от трудовой деятельности целевых категорий (руб.)</a:t>
            </a:r>
            <a:endParaRPr lang="ru-RU" dirty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val="1129861432"/>
              </p:ext>
            </p:extLst>
          </p:nvPr>
        </p:nvGraphicFramePr>
        <p:xfrm>
          <a:off x="-70313" y="2176047"/>
          <a:ext cx="3800475" cy="45396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900315" y="4350444"/>
            <a:ext cx="1760160" cy="57606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8,03</a:t>
            </a:r>
          </a:p>
          <a:p>
            <a:pPr algn="ctr"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endParaRPr lang="ru-RU" sz="2000" b="1" dirty="0">
              <a:solidFill>
                <a:schemeClr val="bg1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839432" y="3486628"/>
            <a:ext cx="1760160" cy="57606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3,04</a:t>
            </a:r>
            <a:endParaRPr lang="ru-RU" sz="2000" b="1" dirty="0">
              <a:solidFill>
                <a:schemeClr val="bg1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grpSp>
        <p:nvGrpSpPr>
          <p:cNvPr id="29" name="Группа 47"/>
          <p:cNvGrpSpPr/>
          <p:nvPr/>
        </p:nvGrpSpPr>
        <p:grpSpPr>
          <a:xfrm>
            <a:off x="2120265" y="4637660"/>
            <a:ext cx="1386840" cy="954604"/>
            <a:chOff x="4714082" y="4501364"/>
            <a:chExt cx="1167405" cy="928694"/>
          </a:xfrm>
        </p:grpSpPr>
        <p:cxnSp>
          <p:nvCxnSpPr>
            <p:cNvPr id="30" name="Прямая соединительная линия 29"/>
            <p:cNvCxnSpPr/>
            <p:nvPr/>
          </p:nvCxnSpPr>
          <p:spPr>
            <a:xfrm>
              <a:off x="4714876" y="5429264"/>
              <a:ext cx="1166611" cy="0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Прямая соединительная линия 30"/>
            <p:cNvCxnSpPr/>
            <p:nvPr/>
          </p:nvCxnSpPr>
          <p:spPr>
            <a:xfrm rot="5400000">
              <a:off x="4250529" y="4964917"/>
              <a:ext cx="928694" cy="1588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Прямоугольник 31"/>
          <p:cNvSpPr/>
          <p:nvPr/>
        </p:nvSpPr>
        <p:spPr>
          <a:xfrm>
            <a:off x="0" y="1516817"/>
            <a:ext cx="4572000" cy="7571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ru-RU" altLang="ru-R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овышение оплаты труда работников муниципальных учреждений</a:t>
            </a:r>
          </a:p>
          <a:p>
            <a:pPr algn="ctr" eaLnBrk="0" hangingPunct="0">
              <a:lnSpc>
                <a:spcPct val="80000"/>
              </a:lnSpc>
              <a:defRPr/>
            </a:pPr>
            <a:r>
              <a:rPr lang="ru-RU" altLang="ru-R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в 2021 году </a:t>
            </a:r>
            <a:r>
              <a:rPr lang="ru-R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 млн. руб.)</a:t>
            </a:r>
            <a:endParaRPr lang="ru-R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73177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Graphic spid="9" grpId="0">
        <p:bldAsOne/>
      </p:bldGraphic>
      <p:bldGraphic spid="14" grpId="0">
        <p:bldAsOne/>
      </p:bldGraphic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1182255" y="199822"/>
            <a:ext cx="7961313" cy="1078173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Расходы социального характера </a:t>
            </a:r>
          </a:p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в 2021 году</a:t>
            </a:r>
            <a:endParaRPr lang="ru-RU" sz="2800" b="1" dirty="0"/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1485797964"/>
              </p:ext>
            </p:extLst>
          </p:nvPr>
        </p:nvGraphicFramePr>
        <p:xfrm>
          <a:off x="-209551" y="1476375"/>
          <a:ext cx="4429126" cy="5153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Штриховая стрелка вправо 6"/>
          <p:cNvSpPr/>
          <p:nvPr/>
        </p:nvSpPr>
        <p:spPr>
          <a:xfrm rot="16200000">
            <a:off x="1588462" y="1138386"/>
            <a:ext cx="1652974" cy="2332902"/>
          </a:xfrm>
          <a:prstGeom prst="stripedRightArrow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1643784" y="1864010"/>
            <a:ext cx="15042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sz="3200" b="1" dirty="0" smtClean="0">
                <a:solidFill>
                  <a:srgbClr val="002060"/>
                </a:solidFill>
                <a:latin typeface="+mn-lt"/>
                <a:cs typeface="+mn-cs"/>
              </a:rPr>
              <a:t>+71</a:t>
            </a:r>
            <a:endParaRPr lang="ru-RU" sz="3200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auto">
          <a:xfrm>
            <a:off x="1861450" y="3958869"/>
            <a:ext cx="1919974" cy="646986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  <a:effectLst/>
          <a:extLst/>
        </p:spPr>
        <p:txBody>
          <a:bodyPr wrap="square">
            <a:spAutoFit/>
          </a:bodyPr>
          <a:lstStyle/>
          <a:p>
            <a:pPr algn="ctr"/>
            <a:r>
              <a:rPr lang="ru-RU" altLang="ru-RU" sz="3200" b="1" dirty="0" smtClean="0">
                <a:solidFill>
                  <a:srgbClr val="002060"/>
                </a:solidFill>
                <a:latin typeface="+mn-lt"/>
                <a:cs typeface="+mn-cs"/>
              </a:rPr>
              <a:t>70%</a:t>
            </a:r>
            <a:endParaRPr lang="ru-RU" altLang="ru-RU" sz="3200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sp>
        <p:nvSpPr>
          <p:cNvPr id="11" name="AutoShape 6"/>
          <p:cNvSpPr>
            <a:spLocks noChangeArrowheads="1"/>
          </p:cNvSpPr>
          <p:nvPr/>
        </p:nvSpPr>
        <p:spPr bwMode="auto">
          <a:xfrm>
            <a:off x="1963233" y="3453969"/>
            <a:ext cx="1919974" cy="646986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  <a:effectLst/>
          <a:extLst/>
        </p:spPr>
        <p:txBody>
          <a:bodyPr wrap="square">
            <a:spAutoFit/>
          </a:bodyPr>
          <a:lstStyle/>
          <a:p>
            <a:pPr algn="ctr"/>
            <a:r>
              <a:rPr lang="ru-RU" altLang="ru-RU" sz="3200" b="1" dirty="0" smtClean="0">
                <a:solidFill>
                  <a:srgbClr val="002060"/>
                </a:solidFill>
                <a:latin typeface="+mn-lt"/>
                <a:cs typeface="+mn-cs"/>
              </a:rPr>
              <a:t>3 684</a:t>
            </a:r>
            <a:endParaRPr lang="ru-RU" altLang="ru-RU" sz="3200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981700" y="1554019"/>
            <a:ext cx="2457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в том числе:</a:t>
            </a:r>
            <a:endParaRPr lang="ru-RU" b="1" dirty="0">
              <a:solidFill>
                <a:srgbClr val="002060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19" name="Диаграмма 18"/>
          <p:cNvGraphicFramePr/>
          <p:nvPr/>
        </p:nvGraphicFramePr>
        <p:xfrm>
          <a:off x="3114675" y="1952625"/>
          <a:ext cx="6029325" cy="478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524870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Скругленный прямоугольник 272"/>
          <p:cNvSpPr/>
          <p:nvPr/>
        </p:nvSpPr>
        <p:spPr>
          <a:xfrm>
            <a:off x="6469286" y="5061164"/>
            <a:ext cx="2658259" cy="520992"/>
          </a:xfrm>
          <a:prstGeom prst="roundRect">
            <a:avLst>
              <a:gd name="adj" fmla="val 50000"/>
            </a:avLst>
          </a:prstGeom>
          <a:solidFill>
            <a:srgbClr val="FFDE75">
              <a:alpha val="31000"/>
            </a:srgb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rtlCol="0" anchor="ctr"/>
          <a:lstStyle/>
          <a:p>
            <a:pPr algn="just">
              <a:lnSpc>
                <a:spcPts val="1800"/>
              </a:lnSpc>
              <a:defRPr/>
            </a:pP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4" name="AutoShape 2" descr="https://www.kryzalis.com.br/blog/wp-content/uploads/2017/10/como-administrar-uma-empresa-analise-concorrencia.png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191594" y="-476877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4" descr="https://www.kryzalis.com.br/blog/wp-content/uploads/2017/10/como-administrar-uma-empresa-analise-concorrencia.png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91594" y="-476877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AutoShape 6" descr="https://www.kryzalis.com.br/blog/wp-content/uploads/2017/10/como-administrar-uma-empresa-analise-concorrencia.png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91594" y="-476877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3" name="Группа 2"/>
          <p:cNvGrpSpPr/>
          <p:nvPr/>
        </p:nvGrpSpPr>
        <p:grpSpPr>
          <a:xfrm>
            <a:off x="3466086" y="4458234"/>
            <a:ext cx="3085582" cy="2713194"/>
            <a:chOff x="3742992" y="4157380"/>
            <a:chExt cx="3085582" cy="2713194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4258243" y="4157380"/>
              <a:ext cx="2558358" cy="271319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Овал 10"/>
            <p:cNvSpPr/>
            <p:nvPr/>
          </p:nvSpPr>
          <p:spPr>
            <a:xfrm rot="371319">
              <a:off x="5839963" y="4189320"/>
              <a:ext cx="988611" cy="41658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 rot="273913">
              <a:off x="6035159" y="4288212"/>
              <a:ext cx="637296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7,0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3742992" y="5113782"/>
              <a:ext cx="2865275" cy="513476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31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sz="3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6026371" y="5201179"/>
              <a:ext cx="724187" cy="439338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7,0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3819233" y="5227148"/>
              <a:ext cx="235348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ru-RU" sz="1200" dirty="0" smtClean="0"/>
                <a:t>ПСД на строительство детского сада 5-6 микрорайон</a:t>
              </a:r>
              <a:endParaRPr lang="ru-RU" sz="1400" dirty="0"/>
            </a:p>
          </p:txBody>
        </p:sp>
        <p:sp>
          <p:nvSpPr>
            <p:cNvPr id="91" name="Прямоугольник 90"/>
            <p:cNvSpPr/>
            <p:nvPr/>
          </p:nvSpPr>
          <p:spPr>
            <a:xfrm>
              <a:off x="4269444" y="4365386"/>
              <a:ext cx="1845399" cy="7167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ru-RU" sz="1400" b="1" dirty="0"/>
                <a:t>Строительство (реконструкция) объектов образования</a:t>
              </a:r>
            </a:p>
          </p:txBody>
        </p:sp>
      </p:grpSp>
      <p:pic>
        <p:nvPicPr>
          <p:cNvPr id="3078" name="Picture 6" descr="Похожее изображение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417" y="2424223"/>
            <a:ext cx="2214004" cy="1967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" name="Заголовок 2"/>
          <p:cNvSpPr txBox="1">
            <a:spLocks/>
          </p:cNvSpPr>
          <p:nvPr/>
        </p:nvSpPr>
        <p:spPr>
          <a:xfrm>
            <a:off x="289430" y="-324478"/>
            <a:ext cx="8890590" cy="1501281"/>
          </a:xfrm>
          <a:prstGeom prst="rect">
            <a:avLst/>
          </a:prstGeom>
          <a:solidFill>
            <a:srgbClr val="99CCFF">
              <a:alpha val="86000"/>
            </a:srgbClr>
          </a:solidFill>
          <a:ln w="6350" cap="rnd">
            <a:noFill/>
          </a:ln>
        </p:spPr>
        <p:txBody>
          <a:bodyPr vert="horz" rtlCol="0" anchor="ctr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Поддержка детства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sp>
        <p:nvSpPr>
          <p:cNvPr id="65" name="Прямоугольник 64"/>
          <p:cNvSpPr>
            <a:spLocks noChangeArrowheads="1"/>
          </p:cNvSpPr>
          <p:nvPr/>
        </p:nvSpPr>
        <p:spPr bwMode="auto">
          <a:xfrm>
            <a:off x="7907656" y="498867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b="1" i="1" dirty="0">
                <a:solidFill>
                  <a:schemeClr val="accent2">
                    <a:lumMod val="75000"/>
                  </a:schemeClr>
                </a:solidFill>
                <a:latin typeface="Constantia" pitchFamily="18" charset="0"/>
                <a:cs typeface="Arial" charset="0"/>
              </a:rPr>
              <a:t>млн. руб.</a:t>
            </a:r>
          </a:p>
        </p:txBody>
      </p:sp>
      <p:grpSp>
        <p:nvGrpSpPr>
          <p:cNvPr id="237" name="Группа 236"/>
          <p:cNvGrpSpPr/>
          <p:nvPr/>
        </p:nvGrpSpPr>
        <p:grpSpPr>
          <a:xfrm>
            <a:off x="6264514" y="824196"/>
            <a:ext cx="2915118" cy="5394165"/>
            <a:chOff x="6253178" y="1296167"/>
            <a:chExt cx="2915118" cy="5394165"/>
          </a:xfrm>
        </p:grpSpPr>
        <p:sp>
          <p:nvSpPr>
            <p:cNvPr id="238" name="Прямоугольник 237"/>
            <p:cNvSpPr/>
            <p:nvPr/>
          </p:nvSpPr>
          <p:spPr>
            <a:xfrm>
              <a:off x="6424719" y="1607924"/>
              <a:ext cx="1787139" cy="4098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ru-RU" sz="1400" b="1" dirty="0" smtClean="0"/>
                <a:t>Социальная поддержка детей</a:t>
              </a:r>
              <a:endParaRPr lang="ru-RU" sz="1400" b="1" dirty="0"/>
            </a:p>
          </p:txBody>
        </p:sp>
        <p:sp>
          <p:nvSpPr>
            <p:cNvPr id="240" name="Прямоугольник 239"/>
            <p:cNvSpPr/>
            <p:nvPr/>
          </p:nvSpPr>
          <p:spPr>
            <a:xfrm>
              <a:off x="6266063" y="1296167"/>
              <a:ext cx="2877380" cy="223254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2" name="Прямоугольник 241"/>
            <p:cNvSpPr/>
            <p:nvPr/>
          </p:nvSpPr>
          <p:spPr>
            <a:xfrm rot="273913">
              <a:off x="8014808" y="1567482"/>
              <a:ext cx="996898" cy="2467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738,4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43" name="Скругленный прямоугольник 242"/>
            <p:cNvSpPr/>
            <p:nvPr/>
          </p:nvSpPr>
          <p:spPr>
            <a:xfrm>
              <a:off x="6323052" y="2125467"/>
              <a:ext cx="2731958" cy="469491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31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sz="4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4" name="Скругленный прямоугольник 243"/>
            <p:cNvSpPr/>
            <p:nvPr/>
          </p:nvSpPr>
          <p:spPr>
            <a:xfrm>
              <a:off x="8122477" y="2112426"/>
              <a:ext cx="959274" cy="43893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720,8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45" name="Скругленный прямоугольник 244"/>
            <p:cNvSpPr/>
            <p:nvPr/>
          </p:nvSpPr>
          <p:spPr>
            <a:xfrm>
              <a:off x="6253178" y="2736291"/>
              <a:ext cx="2801832" cy="478519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31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6" name="Прямоугольник 245"/>
            <p:cNvSpPr/>
            <p:nvPr/>
          </p:nvSpPr>
          <p:spPr>
            <a:xfrm>
              <a:off x="6269511" y="2139774"/>
              <a:ext cx="196662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200"/>
                </a:lnSpc>
              </a:pPr>
              <a:r>
                <a:rPr lang="ru-RU" sz="1200" dirty="0" smtClean="0"/>
                <a:t>Поддержка семей </a:t>
              </a:r>
              <a:r>
                <a:rPr lang="ru-RU" sz="1200" dirty="0"/>
                <a:t>с детьми</a:t>
              </a:r>
            </a:p>
          </p:txBody>
        </p:sp>
        <p:sp>
          <p:nvSpPr>
            <p:cNvPr id="247" name="Прямоугольник 246"/>
            <p:cNvSpPr/>
            <p:nvPr/>
          </p:nvSpPr>
          <p:spPr>
            <a:xfrm>
              <a:off x="6336437" y="2810999"/>
              <a:ext cx="1692970" cy="3231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sz="1200" dirty="0" smtClean="0"/>
                <a:t>Защита детей-сирот</a:t>
              </a:r>
              <a:endParaRPr lang="ru-RU" sz="1200" dirty="0"/>
            </a:p>
          </p:txBody>
        </p:sp>
        <p:sp>
          <p:nvSpPr>
            <p:cNvPr id="248" name="Скругленный прямоугольник 247"/>
            <p:cNvSpPr/>
            <p:nvPr/>
          </p:nvSpPr>
          <p:spPr>
            <a:xfrm>
              <a:off x="8068198" y="2743201"/>
              <a:ext cx="935249" cy="50047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17,6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grpSp>
          <p:nvGrpSpPr>
            <p:cNvPr id="249" name="Группа 94"/>
            <p:cNvGrpSpPr/>
            <p:nvPr/>
          </p:nvGrpSpPr>
          <p:grpSpPr>
            <a:xfrm>
              <a:off x="6393000" y="3594648"/>
              <a:ext cx="2775296" cy="3095684"/>
              <a:chOff x="4286342" y="3145385"/>
              <a:chExt cx="4226026" cy="3038012"/>
            </a:xfrm>
          </p:grpSpPr>
          <p:sp>
            <p:nvSpPr>
              <p:cNvPr id="262" name="Прямоугольник 261"/>
              <p:cNvSpPr/>
              <p:nvPr/>
            </p:nvSpPr>
            <p:spPr>
              <a:xfrm>
                <a:off x="4716355" y="3452006"/>
                <a:ext cx="3796013" cy="273139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64" name="Прямоугольник 263"/>
              <p:cNvSpPr/>
              <p:nvPr/>
            </p:nvSpPr>
            <p:spPr>
              <a:xfrm rot="273913">
                <a:off x="6772326" y="3145385"/>
                <a:ext cx="1689927" cy="27938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 fontAlgn="t">
                  <a:lnSpc>
                    <a:spcPts val="1200"/>
                  </a:lnSpc>
                </a:pPr>
                <a:r>
                  <a:rPr lang="ru-RU" sz="20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1 851,8</a:t>
                </a:r>
                <a:endParaRPr lang="ru-RU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265" name="Скругленный прямоугольник 264"/>
              <p:cNvSpPr/>
              <p:nvPr/>
            </p:nvSpPr>
            <p:spPr>
              <a:xfrm>
                <a:off x="4385245" y="3785815"/>
                <a:ext cx="4047809" cy="498738"/>
              </a:xfrm>
              <a:prstGeom prst="roundRect">
                <a:avLst>
                  <a:gd name="adj" fmla="val 50000"/>
                </a:avLst>
              </a:prstGeom>
              <a:solidFill>
                <a:srgbClr val="FFDE75">
                  <a:alpha val="31000"/>
                </a:srgbClr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48000" rIns="144000" rtlCol="0" anchor="ctr"/>
              <a:lstStyle/>
              <a:p>
                <a:pPr algn="just">
                  <a:lnSpc>
                    <a:spcPts val="1800"/>
                  </a:lnSpc>
                  <a:defRPr/>
                </a:pPr>
                <a:endParaRPr lang="ru-RU" sz="3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66" name="Скругленный прямоугольник 265"/>
              <p:cNvSpPr/>
              <p:nvPr/>
            </p:nvSpPr>
            <p:spPr>
              <a:xfrm>
                <a:off x="6882017" y="3788171"/>
                <a:ext cx="1469320" cy="418367"/>
              </a:xfrm>
              <a:prstGeom prst="roundRect">
                <a:avLst>
                  <a:gd name="adj" fmla="val 50000"/>
                </a:avLst>
              </a:prstGeom>
              <a:solidFill>
                <a:srgbClr val="FFDE75">
                  <a:alpha val="80000"/>
                </a:srgb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0000" rtlCol="0" anchor="ctr"/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2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Tahoma" pitchFamily="34" charset="0"/>
                    <a:cs typeface="Tahoma" pitchFamily="34" charset="0"/>
                  </a:rPr>
                  <a:t>627,5</a:t>
                </a:r>
                <a:endParaRPr lang="ru-R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67" name="Скругленный прямоугольник 266"/>
              <p:cNvSpPr/>
              <p:nvPr/>
            </p:nvSpPr>
            <p:spPr>
              <a:xfrm>
                <a:off x="4408325" y="4316187"/>
                <a:ext cx="4061382" cy="585440"/>
              </a:xfrm>
              <a:prstGeom prst="roundRect">
                <a:avLst>
                  <a:gd name="adj" fmla="val 50000"/>
                </a:avLst>
              </a:prstGeom>
              <a:solidFill>
                <a:srgbClr val="FFDE75">
                  <a:alpha val="31000"/>
                </a:srgbClr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48000" rIns="144000" rtlCol="0" anchor="ctr"/>
              <a:lstStyle/>
              <a:p>
                <a:pPr algn="just">
                  <a:lnSpc>
                    <a:spcPts val="1800"/>
                  </a:lnSpc>
                  <a:defRPr/>
                </a:pPr>
                <a:endParaRPr lang="ru-RU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68" name="Скругленный прямоугольник 267"/>
              <p:cNvSpPr/>
              <p:nvPr/>
            </p:nvSpPr>
            <p:spPr>
              <a:xfrm>
                <a:off x="6949115" y="4436302"/>
                <a:ext cx="1402222" cy="408480"/>
              </a:xfrm>
              <a:prstGeom prst="roundRect">
                <a:avLst>
                  <a:gd name="adj" fmla="val 50000"/>
                </a:avLst>
              </a:prstGeom>
              <a:solidFill>
                <a:srgbClr val="FFDE75">
                  <a:alpha val="80000"/>
                </a:srgb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0000" rtlCol="0" anchor="ctr"/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2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Tahoma" pitchFamily="34" charset="0"/>
                    <a:cs typeface="Tahoma" pitchFamily="34" charset="0"/>
                  </a:rPr>
                  <a:t>1 130,4</a:t>
                </a:r>
                <a:endParaRPr lang="ru-R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69" name="Прямоугольник 268"/>
              <p:cNvSpPr/>
              <p:nvPr/>
            </p:nvSpPr>
            <p:spPr>
              <a:xfrm>
                <a:off x="4634872" y="3851205"/>
                <a:ext cx="2421099" cy="58509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200"/>
                  </a:lnSpc>
                </a:pPr>
                <a:r>
                  <a:rPr lang="ru-RU" sz="1200" dirty="0" smtClean="0"/>
                  <a:t>Дошкольные учреждения</a:t>
                </a:r>
                <a:endParaRPr lang="ru-RU" sz="1400" dirty="0"/>
              </a:p>
            </p:txBody>
          </p:sp>
          <p:sp>
            <p:nvSpPr>
              <p:cNvPr id="270" name="Прямоугольник 269"/>
              <p:cNvSpPr/>
              <p:nvPr/>
            </p:nvSpPr>
            <p:spPr>
              <a:xfrm>
                <a:off x="4286342" y="4443283"/>
                <a:ext cx="2932689" cy="3423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1000"/>
                  </a:lnSpc>
                </a:pPr>
                <a:r>
                  <a:rPr lang="ru-RU" sz="1150" dirty="0" smtClean="0"/>
                  <a:t>Общеобразовательные учреждения</a:t>
                </a:r>
                <a:endParaRPr lang="ru-RU" sz="1150" dirty="0"/>
              </a:p>
            </p:txBody>
          </p:sp>
        </p:grpSp>
        <p:sp>
          <p:nvSpPr>
            <p:cNvPr id="250" name="Прямоугольник 249"/>
            <p:cNvSpPr/>
            <p:nvPr/>
          </p:nvSpPr>
          <p:spPr>
            <a:xfrm>
              <a:off x="6457950" y="3506672"/>
              <a:ext cx="1860992" cy="7182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ru-RU" sz="1400" b="1" dirty="0" smtClean="0"/>
                <a:t>Средства на обеспечение  образовательного процесса</a:t>
              </a:r>
              <a:endParaRPr lang="ru-RU" sz="1400" b="1" dirty="0"/>
            </a:p>
          </p:txBody>
        </p:sp>
        <p:grpSp>
          <p:nvGrpSpPr>
            <p:cNvPr id="251" name="Группа 250"/>
            <p:cNvGrpSpPr/>
            <p:nvPr/>
          </p:nvGrpSpPr>
          <p:grpSpPr>
            <a:xfrm>
              <a:off x="6269511" y="1298262"/>
              <a:ext cx="2898409" cy="5392067"/>
              <a:chOff x="6266063" y="1296167"/>
              <a:chExt cx="2877941" cy="5381290"/>
            </a:xfrm>
          </p:grpSpPr>
          <p:sp>
            <p:nvSpPr>
              <p:cNvPr id="253" name="Прямоугольник 252"/>
              <p:cNvSpPr/>
              <p:nvPr/>
            </p:nvSpPr>
            <p:spPr>
              <a:xfrm>
                <a:off x="6266063" y="1296167"/>
                <a:ext cx="2857060" cy="222808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54" name="Овал 253"/>
              <p:cNvSpPr/>
              <p:nvPr/>
            </p:nvSpPr>
            <p:spPr>
              <a:xfrm rot="371319">
                <a:off x="8044249" y="1545070"/>
                <a:ext cx="1038262" cy="406128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55" name="Скругленный прямоугольник 254"/>
              <p:cNvSpPr/>
              <p:nvPr/>
            </p:nvSpPr>
            <p:spPr>
              <a:xfrm>
                <a:off x="8068199" y="2743201"/>
                <a:ext cx="928644" cy="499472"/>
              </a:xfrm>
              <a:prstGeom prst="roundRect">
                <a:avLst>
                  <a:gd name="adj" fmla="val 50000"/>
                </a:avLst>
              </a:prstGeom>
              <a:solidFill>
                <a:srgbClr val="FFDE75">
                  <a:alpha val="80000"/>
                </a:srgb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0000" rtlCol="0" anchor="ctr"/>
              <a:lstStyle/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2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ea typeface="Tahoma" pitchFamily="34" charset="0"/>
                    <a:cs typeface="Tahoma" pitchFamily="34" charset="0"/>
                  </a:rPr>
                  <a:t>17,6</a:t>
                </a:r>
                <a:endParaRPr lang="ru-R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endParaRPr>
              </a:p>
            </p:txBody>
          </p:sp>
          <p:grpSp>
            <p:nvGrpSpPr>
              <p:cNvPr id="256" name="Группа 94"/>
              <p:cNvGrpSpPr/>
              <p:nvPr/>
            </p:nvGrpSpPr>
            <p:grpSpPr>
              <a:xfrm>
                <a:off x="6523083" y="3411560"/>
                <a:ext cx="2620921" cy="3265897"/>
                <a:chOff x="4493031" y="2971922"/>
                <a:chExt cx="4019337" cy="3211475"/>
              </a:xfrm>
            </p:grpSpPr>
            <p:sp>
              <p:nvSpPr>
                <p:cNvPr id="257" name="Прямоугольник 256"/>
                <p:cNvSpPr/>
                <p:nvPr/>
              </p:nvSpPr>
              <p:spPr>
                <a:xfrm>
                  <a:off x="4716355" y="3452006"/>
                  <a:ext cx="3796013" cy="2731391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58" name="Овал 257"/>
                <p:cNvSpPr/>
                <p:nvPr/>
              </p:nvSpPr>
              <p:spPr>
                <a:xfrm rot="371319">
                  <a:off x="6853602" y="2971922"/>
                  <a:ext cx="1536696" cy="542608"/>
                </a:xfrm>
                <a:prstGeom prst="ellipse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261" name="Прямоугольник 260"/>
                <p:cNvSpPr/>
                <p:nvPr/>
              </p:nvSpPr>
              <p:spPr>
                <a:xfrm>
                  <a:off x="4493031" y="5047855"/>
                  <a:ext cx="2948855" cy="46910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>
                    <a:lnSpc>
                      <a:spcPts val="1000"/>
                    </a:lnSpc>
                  </a:pPr>
                  <a:r>
                    <a:rPr lang="ru-RU" sz="1150" dirty="0" smtClean="0"/>
                    <a:t>Учреждения дополнительного образования</a:t>
                  </a:r>
                  <a:endParaRPr lang="ru-RU" sz="1150" dirty="0"/>
                </a:p>
              </p:txBody>
            </p:sp>
          </p:grpSp>
        </p:grpSp>
      </p:grpSp>
      <p:sp>
        <p:nvSpPr>
          <p:cNvPr id="272" name="Скругленный прямоугольник 271"/>
          <p:cNvSpPr/>
          <p:nvPr/>
        </p:nvSpPr>
        <p:spPr>
          <a:xfrm>
            <a:off x="8163828" y="5086274"/>
            <a:ext cx="902518" cy="408625"/>
          </a:xfrm>
          <a:prstGeom prst="roundRect">
            <a:avLst>
              <a:gd name="adj" fmla="val 50000"/>
            </a:avLst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rtlCol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93,9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116" name="Picture 11" descr="5gor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2489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Скругленный прямоугольник 70"/>
          <p:cNvSpPr/>
          <p:nvPr/>
        </p:nvSpPr>
        <p:spPr>
          <a:xfrm>
            <a:off x="222884" y="4637589"/>
            <a:ext cx="3004123" cy="661530"/>
          </a:xfrm>
          <a:prstGeom prst="roundRect">
            <a:avLst>
              <a:gd name="adj" fmla="val 50000"/>
            </a:avLst>
          </a:prstGeom>
          <a:solidFill>
            <a:srgbClr val="FFFFCC">
              <a:alpha val="30980"/>
            </a:srgb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rtlCol="0" anchor="ctr"/>
          <a:lstStyle/>
          <a:p>
            <a:pPr algn="just">
              <a:lnSpc>
                <a:spcPts val="1800"/>
              </a:lnSpc>
              <a:defRPr/>
            </a:pP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267324" y="4661582"/>
            <a:ext cx="296302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Укрепление </a:t>
            </a:r>
            <a:r>
              <a:rPr lang="ru-RU" sz="1200" dirty="0" smtClean="0"/>
              <a:t>материально-</a:t>
            </a:r>
          </a:p>
          <a:p>
            <a:r>
              <a:rPr lang="ru-RU" sz="1200" dirty="0" smtClean="0"/>
              <a:t>технической </a:t>
            </a:r>
            <a:r>
              <a:rPr lang="ru-RU" sz="1200" dirty="0"/>
              <a:t>базы </a:t>
            </a:r>
            <a:endParaRPr lang="ru-RU" sz="1200" dirty="0" smtClean="0"/>
          </a:p>
          <a:p>
            <a:r>
              <a:rPr lang="ru-RU" sz="1200" dirty="0" smtClean="0"/>
              <a:t>образовательных </a:t>
            </a:r>
            <a:r>
              <a:rPr lang="ru-RU" sz="1200" dirty="0"/>
              <a:t>организаций</a:t>
            </a:r>
          </a:p>
          <a:p>
            <a:endParaRPr lang="ru-RU" sz="1200" dirty="0"/>
          </a:p>
        </p:txBody>
      </p:sp>
      <p:grpSp>
        <p:nvGrpSpPr>
          <p:cNvPr id="148" name="Группа 147"/>
          <p:cNvGrpSpPr/>
          <p:nvPr/>
        </p:nvGrpSpPr>
        <p:grpSpPr>
          <a:xfrm>
            <a:off x="26517" y="950539"/>
            <a:ext cx="3782985" cy="4290261"/>
            <a:chOff x="-9502" y="1282953"/>
            <a:chExt cx="3756274" cy="3421007"/>
          </a:xfrm>
        </p:grpSpPr>
        <p:sp>
          <p:nvSpPr>
            <p:cNvPr id="149" name="Скругленный прямоугольник 148"/>
            <p:cNvSpPr/>
            <p:nvPr/>
          </p:nvSpPr>
          <p:spPr>
            <a:xfrm>
              <a:off x="146184" y="3833062"/>
              <a:ext cx="3061501" cy="338691"/>
            </a:xfrm>
            <a:prstGeom prst="roundRect">
              <a:avLst>
                <a:gd name="adj" fmla="val 50000"/>
              </a:avLst>
            </a:prstGeom>
            <a:solidFill>
              <a:srgbClr val="FFFFCC">
                <a:alpha val="3098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0" name="Прямоугольник 149"/>
            <p:cNvSpPr/>
            <p:nvPr/>
          </p:nvSpPr>
          <p:spPr>
            <a:xfrm>
              <a:off x="0" y="1282953"/>
              <a:ext cx="3714646" cy="324864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1" name="Прямоугольник 150"/>
            <p:cNvSpPr/>
            <p:nvPr/>
          </p:nvSpPr>
          <p:spPr>
            <a:xfrm>
              <a:off x="-9502" y="1500209"/>
              <a:ext cx="2987040" cy="3744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>
                <a:lnSpc>
                  <a:spcPts val="1100"/>
                </a:lnSpc>
              </a:pPr>
              <a:r>
                <a:rPr lang="ru-RU" sz="1400" b="1" dirty="0"/>
                <a:t>Развитие системы </a:t>
              </a:r>
              <a:r>
                <a:rPr lang="ru-RU" sz="1400" b="1" dirty="0" smtClean="0"/>
                <a:t>образования города-курорта Пятигорска</a:t>
              </a:r>
              <a:endParaRPr lang="ru-R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52" name="Овал 151"/>
            <p:cNvSpPr/>
            <p:nvPr/>
          </p:nvSpPr>
          <p:spPr>
            <a:xfrm rot="371319">
              <a:off x="2898884" y="1362103"/>
              <a:ext cx="847888" cy="511984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3" name="Прямоугольник 152"/>
            <p:cNvSpPr/>
            <p:nvPr/>
          </p:nvSpPr>
          <p:spPr>
            <a:xfrm rot="606738">
              <a:off x="2762538" y="1527904"/>
              <a:ext cx="936939" cy="1963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38,3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4" name="Скругленный прямоугольник 153"/>
            <p:cNvSpPr/>
            <p:nvPr/>
          </p:nvSpPr>
          <p:spPr>
            <a:xfrm>
              <a:off x="71384" y="1926247"/>
              <a:ext cx="3571875" cy="531805"/>
            </a:xfrm>
            <a:prstGeom prst="roundRect">
              <a:avLst>
                <a:gd name="adj" fmla="val 50000"/>
              </a:avLst>
            </a:prstGeom>
            <a:solidFill>
              <a:srgbClr val="FFFFCC">
                <a:alpha val="3098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5" name="Скругленный прямоугольник 154"/>
            <p:cNvSpPr/>
            <p:nvPr/>
          </p:nvSpPr>
          <p:spPr>
            <a:xfrm>
              <a:off x="2708807" y="1976050"/>
              <a:ext cx="934453" cy="414069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   106,3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56" name="Прямоугольник 155"/>
            <p:cNvSpPr/>
            <p:nvPr/>
          </p:nvSpPr>
          <p:spPr>
            <a:xfrm>
              <a:off x="106603" y="1981199"/>
              <a:ext cx="2531822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b">
                <a:lnSpc>
                  <a:spcPts val="1200"/>
                </a:lnSpc>
              </a:pPr>
              <a:endParaRPr lang="ru-RU" sz="1200" dirty="0">
                <a:solidFill>
                  <a:srgbClr val="000000"/>
                </a:solidFill>
                <a:latin typeface="Times New Roman"/>
              </a:endParaRPr>
            </a:p>
          </p:txBody>
        </p:sp>
        <p:sp>
          <p:nvSpPr>
            <p:cNvPr id="157" name="Прямоугольник 156"/>
            <p:cNvSpPr/>
            <p:nvPr/>
          </p:nvSpPr>
          <p:spPr>
            <a:xfrm>
              <a:off x="253411" y="2809875"/>
              <a:ext cx="2461214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t">
                <a:lnSpc>
                  <a:spcPts val="1200"/>
                </a:lnSpc>
              </a:pPr>
              <a:endParaRPr lang="ru-RU" sz="1200" dirty="0"/>
            </a:p>
          </p:txBody>
        </p:sp>
        <p:sp>
          <p:nvSpPr>
            <p:cNvPr id="159" name="Прямоугольник 158"/>
            <p:cNvSpPr/>
            <p:nvPr/>
          </p:nvSpPr>
          <p:spPr>
            <a:xfrm>
              <a:off x="239996" y="3833062"/>
              <a:ext cx="2814067" cy="5153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smtClean="0"/>
                <a:t>Проведение мероприятий </a:t>
              </a:r>
            </a:p>
            <a:p>
              <a:r>
                <a:rPr lang="ru-RU" sz="1200" dirty="0" smtClean="0"/>
                <a:t>для детей и молодежи</a:t>
              </a:r>
            </a:p>
            <a:p>
              <a:endParaRPr lang="ru-RU" sz="1200" dirty="0"/>
            </a:p>
          </p:txBody>
        </p:sp>
        <p:sp>
          <p:nvSpPr>
            <p:cNvPr id="160" name="Скругленный прямоугольник 159"/>
            <p:cNvSpPr/>
            <p:nvPr/>
          </p:nvSpPr>
          <p:spPr>
            <a:xfrm>
              <a:off x="155574" y="3296504"/>
              <a:ext cx="2982911" cy="377355"/>
            </a:xfrm>
            <a:prstGeom prst="roundRect">
              <a:avLst>
                <a:gd name="adj" fmla="val 50000"/>
              </a:avLst>
            </a:prstGeom>
            <a:solidFill>
              <a:srgbClr val="FFFFCC">
                <a:alpha val="3098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1" name="Скругленный прямоугольник 160"/>
            <p:cNvSpPr/>
            <p:nvPr/>
          </p:nvSpPr>
          <p:spPr>
            <a:xfrm>
              <a:off x="106603" y="2599081"/>
              <a:ext cx="3374880" cy="529417"/>
            </a:xfrm>
            <a:prstGeom prst="roundRect">
              <a:avLst>
                <a:gd name="adj" fmla="val 50000"/>
              </a:avLst>
            </a:prstGeom>
            <a:solidFill>
              <a:srgbClr val="FFFFCC">
                <a:alpha val="3098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2" name="Скругленный прямоугольник 161"/>
            <p:cNvSpPr/>
            <p:nvPr/>
          </p:nvSpPr>
          <p:spPr>
            <a:xfrm>
              <a:off x="2699779" y="2647807"/>
              <a:ext cx="983572" cy="411727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    9,9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63" name="Скругленный прямоугольник 162"/>
            <p:cNvSpPr/>
            <p:nvPr/>
          </p:nvSpPr>
          <p:spPr>
            <a:xfrm>
              <a:off x="2735720" y="3298586"/>
              <a:ext cx="1000022" cy="37527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     0,5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64" name="Прямоугольник 163"/>
            <p:cNvSpPr/>
            <p:nvPr/>
          </p:nvSpPr>
          <p:spPr>
            <a:xfrm>
              <a:off x="323753" y="1934293"/>
              <a:ext cx="2348865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/>
                <a:t>Организация бесплатного горячего питания обучающихся </a:t>
              </a:r>
            </a:p>
          </p:txBody>
        </p:sp>
        <p:sp>
          <p:nvSpPr>
            <p:cNvPr id="165" name="Прямоугольник 164"/>
            <p:cNvSpPr/>
            <p:nvPr/>
          </p:nvSpPr>
          <p:spPr>
            <a:xfrm>
              <a:off x="236401" y="2630187"/>
              <a:ext cx="2523568" cy="4785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100" dirty="0" smtClean="0"/>
                <a:t>Организация отдыха, оздоровление и трудоустройство детей и подростков в  каникулярное время </a:t>
              </a:r>
              <a:endParaRPr lang="ru-RU" sz="1100" dirty="0"/>
            </a:p>
          </p:txBody>
        </p:sp>
        <p:sp>
          <p:nvSpPr>
            <p:cNvPr id="166" name="Прямоугольник 165"/>
            <p:cNvSpPr/>
            <p:nvPr/>
          </p:nvSpPr>
          <p:spPr>
            <a:xfrm>
              <a:off x="253411" y="3396859"/>
              <a:ext cx="2363329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smtClean="0"/>
                <a:t>Поддержка  одаренных </a:t>
              </a:r>
              <a:r>
                <a:rPr lang="ru-RU" sz="1200" dirty="0"/>
                <a:t>детей </a:t>
              </a:r>
            </a:p>
          </p:txBody>
        </p:sp>
        <p:sp>
          <p:nvSpPr>
            <p:cNvPr id="167" name="Скругленный прямоугольник 166"/>
            <p:cNvSpPr/>
            <p:nvPr/>
          </p:nvSpPr>
          <p:spPr>
            <a:xfrm>
              <a:off x="2759969" y="3833062"/>
              <a:ext cx="966244" cy="331300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      3,1          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73" name="Скругленный прямоугольник 72"/>
            <p:cNvSpPr/>
            <p:nvPr/>
          </p:nvSpPr>
          <p:spPr>
            <a:xfrm>
              <a:off x="2769498" y="4269469"/>
              <a:ext cx="966244" cy="434491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     18,5          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135" name="Группа 11"/>
          <p:cNvGrpSpPr/>
          <p:nvPr/>
        </p:nvGrpSpPr>
        <p:grpSpPr>
          <a:xfrm>
            <a:off x="3798394" y="906185"/>
            <a:ext cx="2686050" cy="1266475"/>
            <a:chOff x="323528" y="1114872"/>
            <a:chExt cx="1656184" cy="1099284"/>
          </a:xfrm>
        </p:grpSpPr>
        <p:sp>
          <p:nvSpPr>
            <p:cNvPr id="136" name="Прямоугольник 135"/>
            <p:cNvSpPr/>
            <p:nvPr/>
          </p:nvSpPr>
          <p:spPr>
            <a:xfrm>
              <a:off x="323528" y="1638092"/>
              <a:ext cx="1656184" cy="576064"/>
            </a:xfrm>
            <a:prstGeom prst="rect">
              <a:avLst/>
            </a:prstGeom>
            <a:solidFill>
              <a:srgbClr val="FFC000">
                <a:alpha val="96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0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2 736</a:t>
              </a:r>
              <a:endParaRPr lang="ru-RU" sz="40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663134" y="1114872"/>
              <a:ext cx="1080120" cy="4541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prstClr val="black"/>
                  </a:solidFill>
                  <a:latin typeface="+mn-lt"/>
                </a:rPr>
                <a:t>2021 год</a:t>
              </a:r>
              <a:endParaRPr lang="ru-RU" sz="2800" b="1" dirty="0">
                <a:solidFill>
                  <a:prstClr val="black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4711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 descr="https://dom.e-yakutia.ru/uploads/ckfinder/userfiles/images/%D0%9A%D0%B0%D0%BF%D0%A0%D0%B5%D0%BC.pn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8311" y="2773471"/>
            <a:ext cx="3058969" cy="305798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7" name="Группа 36"/>
          <p:cNvGrpSpPr/>
          <p:nvPr/>
        </p:nvGrpSpPr>
        <p:grpSpPr>
          <a:xfrm>
            <a:off x="6207280" y="4610759"/>
            <a:ext cx="2841672" cy="1771356"/>
            <a:chOff x="6838917" y="3036730"/>
            <a:chExt cx="2448272" cy="1000249"/>
          </a:xfrm>
        </p:grpSpPr>
        <p:sp>
          <p:nvSpPr>
            <p:cNvPr id="38" name="Скругленный прямоугольник 37"/>
            <p:cNvSpPr/>
            <p:nvPr>
              <p:custDataLst>
                <p:tags r:id="rId4"/>
              </p:custDataLst>
            </p:nvPr>
          </p:nvSpPr>
          <p:spPr>
            <a:xfrm>
              <a:off x="7218776" y="3579966"/>
              <a:ext cx="1688555" cy="45701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4,00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39" name="AutoShape 32"/>
            <p:cNvSpPr>
              <a:spLocks noChangeArrowheads="1"/>
            </p:cNvSpPr>
            <p:nvPr/>
          </p:nvSpPr>
          <p:spPr bwMode="auto">
            <a:xfrm>
              <a:off x="6838917" y="3036730"/>
              <a:ext cx="2448272" cy="54323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Профилактика распространения</a:t>
              </a:r>
            </a:p>
            <a:p>
              <a:pPr algn="ctr">
                <a:lnSpc>
                  <a:spcPts val="1600"/>
                </a:lnSpc>
              </a:pPr>
              <a:endParaRPr lang="ru-RU" sz="2000" dirty="0" smtClean="0">
                <a:latin typeface="+mj-lt"/>
              </a:endParaRPr>
            </a:p>
            <a:p>
              <a:pPr algn="ctr">
                <a:lnSpc>
                  <a:spcPts val="1600"/>
                </a:lnSpc>
              </a:pPr>
              <a:r>
                <a:rPr lang="ru-RU" sz="2400" dirty="0" smtClean="0"/>
                <a:t>COVID-19</a:t>
              </a:r>
              <a:endParaRPr lang="ru-RU" sz="2400" dirty="0"/>
            </a:p>
            <a:p>
              <a:pPr algn="ctr">
                <a:lnSpc>
                  <a:spcPts val="1600"/>
                </a:lnSpc>
              </a:pPr>
              <a:endParaRPr lang="ru-RU" sz="2000" dirty="0">
                <a:latin typeface="+mj-lt"/>
              </a:endParaRP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306639" y="4564468"/>
            <a:ext cx="2841672" cy="1752600"/>
            <a:chOff x="6366899" y="3053745"/>
            <a:chExt cx="2448272" cy="989658"/>
          </a:xfrm>
        </p:grpSpPr>
        <p:sp>
          <p:nvSpPr>
            <p:cNvPr id="31" name="Скругленный прямоугольник 30"/>
            <p:cNvSpPr/>
            <p:nvPr>
              <p:custDataLst>
                <p:tags r:id="rId3"/>
              </p:custDataLst>
            </p:nvPr>
          </p:nvSpPr>
          <p:spPr>
            <a:xfrm>
              <a:off x="6726616" y="3586390"/>
              <a:ext cx="1688555" cy="45701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9,823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32" name="AutoShape 32"/>
            <p:cNvSpPr>
              <a:spLocks noChangeArrowheads="1"/>
            </p:cNvSpPr>
            <p:nvPr/>
          </p:nvSpPr>
          <p:spPr bwMode="auto">
            <a:xfrm>
              <a:off x="6366899" y="3053745"/>
              <a:ext cx="2448272" cy="54323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Обеспечение безопасности</a:t>
              </a:r>
              <a:endParaRPr lang="ru-RU" sz="2000" dirty="0">
                <a:latin typeface="+mj-lt"/>
              </a:endParaRPr>
            </a:p>
          </p:txBody>
        </p:sp>
      </p:grp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971551" y="218872"/>
            <a:ext cx="8172450" cy="1078173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Улучшение условий предоставления образования в образовательных организациях города-курорта Пятигорска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154193" y="3430547"/>
            <a:ext cx="9035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школа</a:t>
            </a:r>
            <a:endParaRPr lang="ru-RU" sz="14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7" name="Группа 11"/>
          <p:cNvGrpSpPr/>
          <p:nvPr/>
        </p:nvGrpSpPr>
        <p:grpSpPr>
          <a:xfrm>
            <a:off x="3084198" y="1384537"/>
            <a:ext cx="2992735" cy="1348447"/>
            <a:chOff x="323528" y="1069548"/>
            <a:chExt cx="1656184" cy="1144608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323528" y="1638092"/>
              <a:ext cx="1656184" cy="576064"/>
            </a:xfrm>
            <a:prstGeom prst="rect">
              <a:avLst/>
            </a:prstGeom>
            <a:solidFill>
              <a:srgbClr val="FFC000">
                <a:alpha val="96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0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29,47</a:t>
              </a:r>
              <a:endParaRPr lang="ru-RU" sz="40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683243" y="1069548"/>
              <a:ext cx="1080120" cy="4441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prstClr val="black"/>
                  </a:solidFill>
                  <a:latin typeface="+mn-lt"/>
                </a:rPr>
                <a:t>2021 год</a:t>
              </a:r>
              <a:endParaRPr lang="ru-RU" sz="2800" b="1" dirty="0">
                <a:solidFill>
                  <a:prstClr val="black"/>
                </a:solidFill>
                <a:latin typeface="+mn-lt"/>
              </a:endParaRPr>
            </a:p>
          </p:txBody>
        </p:sp>
      </p:grpSp>
      <p:grpSp>
        <p:nvGrpSpPr>
          <p:cNvPr id="24" name="Группа 20"/>
          <p:cNvGrpSpPr/>
          <p:nvPr/>
        </p:nvGrpSpPr>
        <p:grpSpPr>
          <a:xfrm>
            <a:off x="203177" y="1990419"/>
            <a:ext cx="2448272" cy="1558702"/>
            <a:chOff x="206082" y="2913496"/>
            <a:chExt cx="2448272" cy="987443"/>
          </a:xfrm>
        </p:grpSpPr>
        <p:sp>
          <p:nvSpPr>
            <p:cNvPr id="25" name="Скругленный прямоугольник 24"/>
            <p:cNvSpPr/>
            <p:nvPr>
              <p:custDataLst>
                <p:tags r:id="rId2"/>
              </p:custDataLst>
            </p:nvPr>
          </p:nvSpPr>
          <p:spPr>
            <a:xfrm>
              <a:off x="404110" y="3400107"/>
              <a:ext cx="1935002" cy="50083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8, 019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6" name="AutoShape 32"/>
            <p:cNvSpPr>
              <a:spLocks noChangeArrowheads="1"/>
            </p:cNvSpPr>
            <p:nvPr/>
          </p:nvSpPr>
          <p:spPr bwMode="auto">
            <a:xfrm>
              <a:off x="206082" y="2913496"/>
              <a:ext cx="2448272" cy="474543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Замена окон</a:t>
              </a:r>
              <a:endParaRPr lang="ru-RU" sz="2000" dirty="0">
                <a:latin typeface="+mj-lt"/>
              </a:endParaRPr>
            </a:p>
          </p:txBody>
        </p:sp>
      </p:grpSp>
      <p:grpSp>
        <p:nvGrpSpPr>
          <p:cNvPr id="27" name="Группа 32"/>
          <p:cNvGrpSpPr/>
          <p:nvPr/>
        </p:nvGrpSpPr>
        <p:grpSpPr>
          <a:xfrm>
            <a:off x="6124575" y="1790700"/>
            <a:ext cx="2876549" cy="2124075"/>
            <a:chOff x="6667153" y="1192953"/>
            <a:chExt cx="2448272" cy="1238884"/>
          </a:xfrm>
        </p:grpSpPr>
        <p:sp>
          <p:nvSpPr>
            <p:cNvPr id="29" name="AutoShape 32"/>
            <p:cNvSpPr>
              <a:spLocks noChangeArrowheads="1"/>
            </p:cNvSpPr>
            <p:nvPr/>
          </p:nvSpPr>
          <p:spPr bwMode="auto">
            <a:xfrm>
              <a:off x="6667153" y="1192953"/>
              <a:ext cx="2448272" cy="920853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lvl="0"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Строительство,</a:t>
              </a:r>
            </a:p>
            <a:p>
              <a:pPr lvl="0"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 реконструкция и ремонт зданий</a:t>
              </a:r>
              <a:endParaRPr lang="ru-RU" sz="2000" dirty="0">
                <a:latin typeface="+mj-lt"/>
              </a:endParaRPr>
            </a:p>
          </p:txBody>
        </p:sp>
        <p:sp>
          <p:nvSpPr>
            <p:cNvPr id="28" name="Скругленный прямоугольник 27"/>
            <p:cNvSpPr/>
            <p:nvPr>
              <p:custDataLst>
                <p:tags r:id="rId1"/>
              </p:custDataLst>
            </p:nvPr>
          </p:nvSpPr>
          <p:spPr>
            <a:xfrm>
              <a:off x="7080897" y="2044691"/>
              <a:ext cx="1620783" cy="387146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7,63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sp>
        <p:nvSpPr>
          <p:cNvPr id="36" name="Прямоугольник 35"/>
          <p:cNvSpPr>
            <a:spLocks noChangeArrowheads="1"/>
          </p:cNvSpPr>
          <p:nvPr/>
        </p:nvSpPr>
        <p:spPr bwMode="auto">
          <a:xfrm>
            <a:off x="7871637" y="13837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2"/>
          <p:cNvSpPr txBox="1">
            <a:spLocks/>
          </p:cNvSpPr>
          <p:nvPr/>
        </p:nvSpPr>
        <p:spPr>
          <a:xfrm>
            <a:off x="1171574" y="7191"/>
            <a:ext cx="7972426" cy="771728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оциальная поддержка граждан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grpSp>
        <p:nvGrpSpPr>
          <p:cNvPr id="8" name="Группа 11"/>
          <p:cNvGrpSpPr/>
          <p:nvPr/>
        </p:nvGrpSpPr>
        <p:grpSpPr>
          <a:xfrm>
            <a:off x="3670663" y="778919"/>
            <a:ext cx="2590799" cy="1036914"/>
            <a:chOff x="355105" y="763996"/>
            <a:chExt cx="1656184" cy="1205545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355105" y="1393477"/>
              <a:ext cx="1656184" cy="576064"/>
            </a:xfrm>
            <a:prstGeom prst="rect">
              <a:avLst/>
            </a:prstGeom>
            <a:solidFill>
              <a:srgbClr val="FFC000">
                <a:alpha val="96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0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1262</a:t>
              </a:r>
              <a:endParaRPr lang="ru-RU" sz="40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57937" y="763996"/>
              <a:ext cx="1080120" cy="5298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prstClr val="black"/>
                  </a:solidFill>
                  <a:latin typeface="+mn-lt"/>
                </a:rPr>
                <a:t>2021 год</a:t>
              </a:r>
              <a:endParaRPr lang="ru-RU" sz="2800" b="1" dirty="0">
                <a:solidFill>
                  <a:prstClr val="black"/>
                </a:solidFill>
                <a:latin typeface="+mn-lt"/>
              </a:endParaRPr>
            </a:p>
          </p:txBody>
        </p:sp>
      </p:grpSp>
      <p:grpSp>
        <p:nvGrpSpPr>
          <p:cNvPr id="11" name="Группа 35"/>
          <p:cNvGrpSpPr/>
          <p:nvPr/>
        </p:nvGrpSpPr>
        <p:grpSpPr>
          <a:xfrm>
            <a:off x="209549" y="1438277"/>
            <a:ext cx="3086101" cy="1687606"/>
            <a:chOff x="3425205" y="1278285"/>
            <a:chExt cx="2448272" cy="638090"/>
          </a:xfrm>
        </p:grpSpPr>
        <p:sp>
          <p:nvSpPr>
            <p:cNvPr id="12" name="Скругленный прямоугольник 11"/>
            <p:cNvSpPr/>
            <p:nvPr>
              <p:custDataLst>
                <p:tags r:id="rId8"/>
              </p:custDataLst>
            </p:nvPr>
          </p:nvSpPr>
          <p:spPr>
            <a:xfrm>
              <a:off x="3796620" y="1735551"/>
              <a:ext cx="1447349" cy="180824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246,8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3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dirty="0" smtClean="0">
                  <a:latin typeface="+mj-lt"/>
                </a:rPr>
                <a:t>Социальное обеспечение граждан за счет средств </a:t>
              </a:r>
              <a:r>
                <a:rPr lang="ru-RU" sz="1600" dirty="0" smtClean="0">
                  <a:latin typeface="+mj-lt"/>
                </a:rPr>
                <a:t>федерального</a:t>
              </a:r>
              <a:r>
                <a:rPr lang="ru-RU" dirty="0" smtClean="0">
                  <a:latin typeface="+mj-lt"/>
                </a:rPr>
                <a:t> и краевого бюджетов</a:t>
              </a:r>
            </a:p>
          </p:txBody>
        </p:sp>
      </p:grpSp>
      <p:grpSp>
        <p:nvGrpSpPr>
          <p:cNvPr id="17" name="Группа 35"/>
          <p:cNvGrpSpPr/>
          <p:nvPr/>
        </p:nvGrpSpPr>
        <p:grpSpPr>
          <a:xfrm>
            <a:off x="6276975" y="1571626"/>
            <a:ext cx="2736363" cy="1371599"/>
            <a:chOff x="3425205" y="1278285"/>
            <a:chExt cx="2448272" cy="831193"/>
          </a:xfrm>
        </p:grpSpPr>
        <p:sp>
          <p:nvSpPr>
            <p:cNvPr id="18" name="Скругленный прямоугольник 17"/>
            <p:cNvSpPr/>
            <p:nvPr>
              <p:custDataLst>
                <p:tags r:id="rId7"/>
              </p:custDataLst>
            </p:nvPr>
          </p:nvSpPr>
          <p:spPr>
            <a:xfrm>
              <a:off x="3793390" y="1781735"/>
              <a:ext cx="1683378" cy="32774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75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9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dirty="0" smtClean="0">
                  <a:latin typeface="+mj-lt"/>
                </a:rPr>
                <a:t>Ремонт жилых помещений ветеранов</a:t>
              </a:r>
            </a:p>
          </p:txBody>
        </p:sp>
      </p:grpSp>
      <p:grpSp>
        <p:nvGrpSpPr>
          <p:cNvPr id="20" name="Группа 35"/>
          <p:cNvGrpSpPr/>
          <p:nvPr/>
        </p:nvGrpSpPr>
        <p:grpSpPr>
          <a:xfrm>
            <a:off x="6219825" y="3257550"/>
            <a:ext cx="2924175" cy="1533525"/>
            <a:chOff x="3257166" y="1132741"/>
            <a:chExt cx="2616311" cy="771319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6"/>
              </p:custDataLst>
            </p:nvPr>
          </p:nvSpPr>
          <p:spPr>
            <a:xfrm>
              <a:off x="3810434" y="1667667"/>
              <a:ext cx="1683378" cy="23639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693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2" name="AutoShape 32"/>
            <p:cNvSpPr>
              <a:spLocks noChangeArrowheads="1"/>
            </p:cNvSpPr>
            <p:nvPr/>
          </p:nvSpPr>
          <p:spPr bwMode="auto">
            <a:xfrm>
              <a:off x="3257166" y="1132741"/>
              <a:ext cx="2616311" cy="502180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dirty="0" smtClean="0">
                  <a:latin typeface="+mj-lt"/>
                </a:rPr>
                <a:t>Поддержка общественных организаций инвалидов и ветеранов</a:t>
              </a:r>
            </a:p>
          </p:txBody>
        </p:sp>
      </p:grpSp>
      <p:grpSp>
        <p:nvGrpSpPr>
          <p:cNvPr id="23" name="Группа 35"/>
          <p:cNvGrpSpPr/>
          <p:nvPr/>
        </p:nvGrpSpPr>
        <p:grpSpPr>
          <a:xfrm>
            <a:off x="6167128" y="5074273"/>
            <a:ext cx="2924175" cy="1400177"/>
            <a:chOff x="3257166" y="1060955"/>
            <a:chExt cx="2616311" cy="957175"/>
          </a:xfrm>
        </p:grpSpPr>
        <p:sp>
          <p:nvSpPr>
            <p:cNvPr id="24" name="Скругленный прямоугольник 23"/>
            <p:cNvSpPr/>
            <p:nvPr>
              <p:custDataLst>
                <p:tags r:id="rId5"/>
              </p:custDataLst>
            </p:nvPr>
          </p:nvSpPr>
          <p:spPr>
            <a:xfrm>
              <a:off x="3793390" y="1660003"/>
              <a:ext cx="1683378" cy="358127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357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5" name="AutoShape 32"/>
            <p:cNvSpPr>
              <a:spLocks noChangeArrowheads="1"/>
            </p:cNvSpPr>
            <p:nvPr/>
          </p:nvSpPr>
          <p:spPr bwMode="auto">
            <a:xfrm>
              <a:off x="3257166" y="1060955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dirty="0" smtClean="0">
                  <a:latin typeface="+mj-lt"/>
                </a:rPr>
                <a:t>Социально-культурные мероприятия по реабилитации</a:t>
              </a:r>
            </a:p>
          </p:txBody>
        </p:sp>
      </p:grpSp>
      <p:grpSp>
        <p:nvGrpSpPr>
          <p:cNvPr id="26" name="Группа 35"/>
          <p:cNvGrpSpPr/>
          <p:nvPr/>
        </p:nvGrpSpPr>
        <p:grpSpPr>
          <a:xfrm>
            <a:off x="3568885" y="5693722"/>
            <a:ext cx="2692577" cy="1069675"/>
            <a:chOff x="3257166" y="1278284"/>
            <a:chExt cx="2616311" cy="739845"/>
          </a:xfrm>
        </p:grpSpPr>
        <p:sp>
          <p:nvSpPr>
            <p:cNvPr id="27" name="Скругленный прямоугольник 26"/>
            <p:cNvSpPr/>
            <p:nvPr>
              <p:custDataLst>
                <p:tags r:id="rId4"/>
              </p:custDataLst>
            </p:nvPr>
          </p:nvSpPr>
          <p:spPr>
            <a:xfrm>
              <a:off x="3793390" y="1781736"/>
              <a:ext cx="1683378" cy="23639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2,954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8" name="AutoShape 32"/>
            <p:cNvSpPr>
              <a:spLocks noChangeArrowheads="1"/>
            </p:cNvSpPr>
            <p:nvPr/>
          </p:nvSpPr>
          <p:spPr bwMode="auto">
            <a:xfrm>
              <a:off x="3257166" y="1278284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Льготное транспортное обслуживание</a:t>
              </a:r>
            </a:p>
          </p:txBody>
        </p:sp>
      </p:grpSp>
      <p:grpSp>
        <p:nvGrpSpPr>
          <p:cNvPr id="29" name="Группа 35"/>
          <p:cNvGrpSpPr/>
          <p:nvPr/>
        </p:nvGrpSpPr>
        <p:grpSpPr>
          <a:xfrm>
            <a:off x="3453085" y="4397601"/>
            <a:ext cx="2924175" cy="1009652"/>
            <a:chOff x="3257166" y="1278284"/>
            <a:chExt cx="2616311" cy="739845"/>
          </a:xfrm>
        </p:grpSpPr>
        <p:sp>
          <p:nvSpPr>
            <p:cNvPr id="30" name="Скругленный прямоугольник 29"/>
            <p:cNvSpPr/>
            <p:nvPr>
              <p:custDataLst>
                <p:tags r:id="rId3"/>
              </p:custDataLst>
            </p:nvPr>
          </p:nvSpPr>
          <p:spPr>
            <a:xfrm>
              <a:off x="3793390" y="1697064"/>
              <a:ext cx="1683378" cy="321065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544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31" name="AutoShape 32"/>
            <p:cNvSpPr>
              <a:spLocks noChangeArrowheads="1"/>
            </p:cNvSpPr>
            <p:nvPr/>
          </p:nvSpPr>
          <p:spPr bwMode="auto">
            <a:xfrm>
              <a:off x="3257166" y="1278284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dirty="0" smtClean="0">
                  <a:latin typeface="+mj-lt"/>
                </a:rPr>
                <a:t>Доступная среда для инвалидов</a:t>
              </a:r>
            </a:p>
          </p:txBody>
        </p:sp>
      </p:grpSp>
      <p:grpSp>
        <p:nvGrpSpPr>
          <p:cNvPr id="32" name="Группа 35"/>
          <p:cNvGrpSpPr/>
          <p:nvPr/>
        </p:nvGrpSpPr>
        <p:grpSpPr>
          <a:xfrm>
            <a:off x="677726" y="5069512"/>
            <a:ext cx="2924175" cy="1228726"/>
            <a:chOff x="3257166" y="1278284"/>
            <a:chExt cx="2616311" cy="739845"/>
          </a:xfrm>
        </p:grpSpPr>
        <p:sp>
          <p:nvSpPr>
            <p:cNvPr id="33" name="Скругленный прямоугольник 32"/>
            <p:cNvSpPr/>
            <p:nvPr>
              <p:custDataLst>
                <p:tags r:id="rId2"/>
              </p:custDataLst>
            </p:nvPr>
          </p:nvSpPr>
          <p:spPr>
            <a:xfrm>
              <a:off x="3766242" y="1702691"/>
              <a:ext cx="1683378" cy="315438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0,235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34" name="AutoShape 32"/>
            <p:cNvSpPr>
              <a:spLocks noChangeArrowheads="1"/>
            </p:cNvSpPr>
            <p:nvPr/>
          </p:nvSpPr>
          <p:spPr bwMode="auto">
            <a:xfrm>
              <a:off x="3257166" y="1278284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dirty="0" smtClean="0">
                  <a:latin typeface="+mj-lt"/>
                </a:rPr>
                <a:t>Адресная помощь отдельным категориям граждан</a:t>
              </a:r>
            </a:p>
          </p:txBody>
        </p:sp>
      </p:grpSp>
      <p:sp>
        <p:nvSpPr>
          <p:cNvPr id="35" name="Прямоугольник 34"/>
          <p:cNvSpPr>
            <a:spLocks noChangeArrowheads="1"/>
          </p:cNvSpPr>
          <p:nvPr/>
        </p:nvSpPr>
        <p:spPr bwMode="auto">
          <a:xfrm>
            <a:off x="7871637" y="97415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36" name="Группа 35"/>
          <p:cNvGrpSpPr/>
          <p:nvPr/>
        </p:nvGrpSpPr>
        <p:grpSpPr>
          <a:xfrm>
            <a:off x="438692" y="3310941"/>
            <a:ext cx="2850964" cy="1307323"/>
            <a:chOff x="3257166" y="1278284"/>
            <a:chExt cx="2616311" cy="739845"/>
          </a:xfrm>
        </p:grpSpPr>
        <p:sp>
          <p:nvSpPr>
            <p:cNvPr id="37" name="Скругленный прямоугольник 36"/>
            <p:cNvSpPr/>
            <p:nvPr>
              <p:custDataLst>
                <p:tags r:id="rId1"/>
              </p:custDataLst>
            </p:nvPr>
          </p:nvSpPr>
          <p:spPr>
            <a:xfrm>
              <a:off x="3793390" y="1781736"/>
              <a:ext cx="1683378" cy="23639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2,001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38" name="AutoShape 32"/>
            <p:cNvSpPr>
              <a:spLocks noChangeArrowheads="1"/>
            </p:cNvSpPr>
            <p:nvPr/>
          </p:nvSpPr>
          <p:spPr bwMode="auto">
            <a:xfrm>
              <a:off x="3257166" y="1278284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1600" dirty="0">
                  <a:latin typeface="+mj-lt"/>
                </a:rPr>
                <a:t>Предоставление молодым семьям социальных выплат на приобретение (строительство) жилья</a:t>
              </a:r>
              <a:endParaRPr lang="ru-RU" sz="1600" dirty="0" smtClean="0">
                <a:latin typeface="+mj-lt"/>
              </a:endParaRPr>
            </a:p>
          </p:txBody>
        </p:sp>
      </p:grpSp>
      <p:pic>
        <p:nvPicPr>
          <p:cNvPr id="39" name="Рисунок 38" descr="https://vk.vkfaces.com/853428/v853428249/b3b20/j25F1dciov8.jpg"/>
          <p:cNvPicPr/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1109" y="1735675"/>
            <a:ext cx="2986149" cy="278041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92532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1190625" y="295274"/>
            <a:ext cx="7953375" cy="67627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Развитие физической культуры и спорта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grpSp>
        <p:nvGrpSpPr>
          <p:cNvPr id="2" name="Группа 11"/>
          <p:cNvGrpSpPr/>
          <p:nvPr/>
        </p:nvGrpSpPr>
        <p:grpSpPr>
          <a:xfrm>
            <a:off x="3625213" y="1170257"/>
            <a:ext cx="2590799" cy="1320888"/>
            <a:chOff x="323528" y="1114872"/>
            <a:chExt cx="1656184" cy="1099284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323528" y="1638092"/>
              <a:ext cx="1656184" cy="576064"/>
            </a:xfrm>
            <a:prstGeom prst="rect">
              <a:avLst/>
            </a:prstGeom>
            <a:solidFill>
              <a:srgbClr val="FFC000">
                <a:alpha val="96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0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158</a:t>
              </a:r>
              <a:endParaRPr lang="ru-RU" sz="40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21435" y="1114872"/>
              <a:ext cx="1422737" cy="4866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3200" b="1" dirty="0" smtClean="0">
                  <a:solidFill>
                    <a:prstClr val="black"/>
                  </a:solidFill>
                  <a:latin typeface="+mn-lt"/>
                </a:rPr>
                <a:t>2021 год</a:t>
              </a:r>
              <a:endParaRPr lang="ru-RU" sz="3200" b="1" dirty="0">
                <a:solidFill>
                  <a:prstClr val="black"/>
                </a:solidFill>
                <a:latin typeface="+mn-lt"/>
              </a:endParaRPr>
            </a:p>
          </p:txBody>
        </p:sp>
      </p:grpSp>
      <p:grpSp>
        <p:nvGrpSpPr>
          <p:cNvPr id="3" name="Группа 35"/>
          <p:cNvGrpSpPr/>
          <p:nvPr/>
        </p:nvGrpSpPr>
        <p:grpSpPr>
          <a:xfrm>
            <a:off x="0" y="1666876"/>
            <a:ext cx="3079630" cy="1686713"/>
            <a:chOff x="3425205" y="893253"/>
            <a:chExt cx="2448272" cy="1207376"/>
          </a:xfrm>
        </p:grpSpPr>
        <p:sp>
          <p:nvSpPr>
            <p:cNvPr id="12" name="Скругленный прямоугольник 11"/>
            <p:cNvSpPr/>
            <p:nvPr>
              <p:custDataLst>
                <p:tags r:id="rId5"/>
              </p:custDataLst>
            </p:nvPr>
          </p:nvSpPr>
          <p:spPr>
            <a:xfrm>
              <a:off x="3807652" y="1720937"/>
              <a:ext cx="1592630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6,49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3" name="AutoShape 32"/>
            <p:cNvSpPr>
              <a:spLocks noChangeArrowheads="1"/>
            </p:cNvSpPr>
            <p:nvPr/>
          </p:nvSpPr>
          <p:spPr bwMode="auto">
            <a:xfrm>
              <a:off x="3425205" y="893253"/>
              <a:ext cx="2448272" cy="852580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Обеспечение деятельности Стадиона Центральный</a:t>
              </a:r>
            </a:p>
          </p:txBody>
        </p:sp>
      </p:grpSp>
      <p:grpSp>
        <p:nvGrpSpPr>
          <p:cNvPr id="6" name="Группа 35"/>
          <p:cNvGrpSpPr/>
          <p:nvPr/>
        </p:nvGrpSpPr>
        <p:grpSpPr>
          <a:xfrm>
            <a:off x="340563" y="4124473"/>
            <a:ext cx="2651292" cy="1600861"/>
            <a:chOff x="3670033" y="859163"/>
            <a:chExt cx="2448272" cy="1405901"/>
          </a:xfrm>
        </p:grpSpPr>
        <p:sp>
          <p:nvSpPr>
            <p:cNvPr id="16" name="AutoShape 32"/>
            <p:cNvSpPr>
              <a:spLocks noChangeArrowheads="1"/>
            </p:cNvSpPr>
            <p:nvPr/>
          </p:nvSpPr>
          <p:spPr bwMode="auto">
            <a:xfrm>
              <a:off x="3670033" y="859163"/>
              <a:ext cx="2448272" cy="1098034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Обеспечение деятельности  7 организаций спортивной подготовки</a:t>
              </a:r>
            </a:p>
          </p:txBody>
        </p:sp>
        <p:sp>
          <p:nvSpPr>
            <p:cNvPr id="15" name="Скругленный прямоугольник 14"/>
            <p:cNvSpPr/>
            <p:nvPr>
              <p:custDataLst>
                <p:tags r:id="rId4"/>
              </p:custDataLst>
            </p:nvPr>
          </p:nvSpPr>
          <p:spPr>
            <a:xfrm>
              <a:off x="3956247" y="1885372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86,3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grpSp>
        <p:nvGrpSpPr>
          <p:cNvPr id="7" name="Группа 35"/>
          <p:cNvGrpSpPr/>
          <p:nvPr/>
        </p:nvGrpSpPr>
        <p:grpSpPr>
          <a:xfrm>
            <a:off x="6534368" y="2079649"/>
            <a:ext cx="2609632" cy="1539157"/>
            <a:chOff x="3556086" y="975401"/>
            <a:chExt cx="2317389" cy="1101753"/>
          </a:xfrm>
        </p:grpSpPr>
        <p:sp>
          <p:nvSpPr>
            <p:cNvPr id="19" name="AutoShape 32"/>
            <p:cNvSpPr>
              <a:spLocks noChangeArrowheads="1"/>
            </p:cNvSpPr>
            <p:nvPr/>
          </p:nvSpPr>
          <p:spPr bwMode="auto">
            <a:xfrm>
              <a:off x="3556086" y="975401"/>
              <a:ext cx="2317389" cy="770430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Реконструкция </a:t>
              </a:r>
            </a:p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поля Стадиона Центральный</a:t>
              </a:r>
            </a:p>
          </p:txBody>
        </p:sp>
        <p:sp>
          <p:nvSpPr>
            <p:cNvPr id="18" name="Скругленный прямоугольник 17"/>
            <p:cNvSpPr/>
            <p:nvPr>
              <p:custDataLst>
                <p:tags r:id="rId3"/>
              </p:custDataLst>
            </p:nvPr>
          </p:nvSpPr>
          <p:spPr>
            <a:xfrm>
              <a:off x="3901910" y="1697462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58,3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grpSp>
        <p:nvGrpSpPr>
          <p:cNvPr id="8" name="Группа 35"/>
          <p:cNvGrpSpPr/>
          <p:nvPr/>
        </p:nvGrpSpPr>
        <p:grpSpPr>
          <a:xfrm>
            <a:off x="5481968" y="4408098"/>
            <a:ext cx="3407494" cy="1807895"/>
            <a:chOff x="3571308" y="937692"/>
            <a:chExt cx="2517150" cy="1087762"/>
          </a:xfrm>
        </p:grpSpPr>
        <p:sp>
          <p:nvSpPr>
            <p:cNvPr id="24" name="Скругленный прямоугольник 23"/>
            <p:cNvSpPr/>
            <p:nvPr>
              <p:custDataLst>
                <p:tags r:id="rId2"/>
              </p:custDataLst>
            </p:nvPr>
          </p:nvSpPr>
          <p:spPr>
            <a:xfrm>
              <a:off x="4077871" y="1721613"/>
              <a:ext cx="1504024" cy="303841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5,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5" name="AutoShape 32"/>
            <p:cNvSpPr>
              <a:spLocks noChangeArrowheads="1"/>
            </p:cNvSpPr>
            <p:nvPr/>
          </p:nvSpPr>
          <p:spPr bwMode="auto">
            <a:xfrm>
              <a:off x="3571308" y="937692"/>
              <a:ext cx="2517150" cy="781545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Физкультурно-оздоровительные, спортивно-массовые мероприятия</a:t>
              </a:r>
            </a:p>
          </p:txBody>
        </p:sp>
      </p:grpSp>
      <p:sp>
        <p:nvSpPr>
          <p:cNvPr id="26" name="Прямоугольник 25"/>
          <p:cNvSpPr>
            <a:spLocks noChangeArrowheads="1"/>
          </p:cNvSpPr>
          <p:nvPr/>
        </p:nvSpPr>
        <p:spPr bwMode="auto">
          <a:xfrm>
            <a:off x="7871637" y="13837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21" name="Рисунок 20" descr="https://api.xn--b1ahgrjafjgng.xn--p1ai/imagecache/full_jpeg/event_image/118/117786/5df685da05707.png"/>
          <p:cNvPicPr/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86" r="100000"/>
                    </a14:imgEffect>
                    <a14:imgEffect>
                      <a14:sharpenSoften amount="500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8477" y="1967944"/>
            <a:ext cx="4264274" cy="295696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" name="Группа 21"/>
          <p:cNvGrpSpPr/>
          <p:nvPr/>
        </p:nvGrpSpPr>
        <p:grpSpPr>
          <a:xfrm>
            <a:off x="3058496" y="4729272"/>
            <a:ext cx="2841672" cy="1752600"/>
            <a:chOff x="6366899" y="3053745"/>
            <a:chExt cx="2448272" cy="989658"/>
          </a:xfrm>
        </p:grpSpPr>
        <p:sp>
          <p:nvSpPr>
            <p:cNvPr id="27" name="Скругленный прямоугольник 26"/>
            <p:cNvSpPr/>
            <p:nvPr>
              <p:custDataLst>
                <p:tags r:id="rId1"/>
              </p:custDataLst>
            </p:nvPr>
          </p:nvSpPr>
          <p:spPr>
            <a:xfrm>
              <a:off x="6726616" y="3586390"/>
              <a:ext cx="1688555" cy="45701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,9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8" name="AutoShape 32"/>
            <p:cNvSpPr>
              <a:spLocks noChangeArrowheads="1"/>
            </p:cNvSpPr>
            <p:nvPr/>
          </p:nvSpPr>
          <p:spPr bwMode="auto">
            <a:xfrm>
              <a:off x="6366899" y="3053745"/>
              <a:ext cx="2448272" cy="54323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Обеспечение безопасности</a:t>
              </a:r>
              <a:endParaRPr lang="ru-RU" sz="2000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883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авнобедренный треугольник 6"/>
          <p:cNvSpPr/>
          <p:nvPr/>
        </p:nvSpPr>
        <p:spPr>
          <a:xfrm>
            <a:off x="609600" y="2190750"/>
            <a:ext cx="8143875" cy="4667250"/>
          </a:xfrm>
          <a:prstGeom prst="triangle">
            <a:avLst/>
          </a:prstGeom>
          <a:solidFill>
            <a:schemeClr val="accent1">
              <a:lumMod val="5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314449" y="167410"/>
            <a:ext cx="7658101" cy="1143000"/>
          </a:xfrm>
        </p:spPr>
        <p:txBody>
          <a:bodyPr>
            <a:noAutofit/>
          </a:bodyPr>
          <a:lstStyle/>
          <a:p>
            <a:pPr marL="446088" lvl="0" indent="-446088" eaLnBrk="1" hangingPunct="1">
              <a:lnSpc>
                <a:spcPct val="80000"/>
              </a:lnSpc>
              <a:defRPr/>
            </a:pPr>
            <a:r>
              <a:rPr lang="ru-RU" altLang="ru-RU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О</a:t>
            </a: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СНОВНЫЕ </a:t>
            </a: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НАПРАВЛЕНИЯ </a:t>
            </a: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НАЛОГОВОЙ </a:t>
            </a: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И БЮДЖЕТНОЙ ПОЛИТИКИ</a:t>
            </a:r>
          </a:p>
        </p:txBody>
      </p: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Схема 9"/>
          <p:cNvGraphicFramePr/>
          <p:nvPr/>
        </p:nvGraphicFramePr>
        <p:xfrm>
          <a:off x="3219449" y="2486025"/>
          <a:ext cx="5810251" cy="43719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Схема 5"/>
          <p:cNvGraphicFramePr/>
          <p:nvPr/>
        </p:nvGraphicFramePr>
        <p:xfrm>
          <a:off x="-1057275" y="2466975"/>
          <a:ext cx="5419725" cy="4276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809750" y="1381125"/>
            <a:ext cx="5972175" cy="830997"/>
          </a:xfrm>
          <a:prstGeom prst="rect">
            <a:avLst/>
          </a:prstGeom>
          <a:solidFill>
            <a:srgbClr val="FF9933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+mn-lt"/>
              </a:rPr>
              <a:t>ЦЕЛЬ:</a:t>
            </a:r>
            <a:r>
              <a:rPr lang="ru-RU" sz="2400" dirty="0" smtClean="0">
                <a:latin typeface="+mn-lt"/>
              </a:rPr>
              <a:t> </a:t>
            </a:r>
            <a:r>
              <a:rPr lang="ru-RU" sz="2400" b="1" dirty="0" smtClean="0">
                <a:latin typeface="+mn-lt"/>
              </a:rPr>
              <a:t>Сохранение устойчивости и сбалансированности бюджета </a:t>
            </a:r>
          </a:p>
        </p:txBody>
      </p:sp>
    </p:spTree>
    <p:extLst>
      <p:ext uri="{BB962C8B-B14F-4D97-AF65-F5344CB8AC3E}">
        <p14:creationId xmlns:p14="http://schemas.microsoft.com/office/powerpoint/2010/main" val="340996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 txBox="1">
            <a:spLocks/>
          </p:cNvSpPr>
          <p:nvPr/>
        </p:nvSpPr>
        <p:spPr>
          <a:xfrm>
            <a:off x="971550" y="295275"/>
            <a:ext cx="8172450" cy="67627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охранение и развитие культуры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pic>
        <p:nvPicPr>
          <p:cNvPr id="5" name="Picture 11" descr="5gor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Группа 11"/>
          <p:cNvGrpSpPr/>
          <p:nvPr/>
        </p:nvGrpSpPr>
        <p:grpSpPr>
          <a:xfrm>
            <a:off x="3486150" y="1383731"/>
            <a:ext cx="2590799" cy="1085501"/>
            <a:chOff x="323528" y="1114872"/>
            <a:chExt cx="1656184" cy="1099284"/>
          </a:xfrm>
        </p:grpSpPr>
        <p:sp>
          <p:nvSpPr>
            <p:cNvPr id="7" name="Прямоугольник 6"/>
            <p:cNvSpPr/>
            <p:nvPr/>
          </p:nvSpPr>
          <p:spPr>
            <a:xfrm>
              <a:off x="323528" y="1638092"/>
              <a:ext cx="1656184" cy="576064"/>
            </a:xfrm>
            <a:prstGeom prst="rect">
              <a:avLst/>
            </a:prstGeom>
            <a:solidFill>
              <a:srgbClr val="FFC000">
                <a:alpha val="96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0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131</a:t>
              </a:r>
              <a:endParaRPr lang="ru-RU" sz="40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718279" y="1114872"/>
              <a:ext cx="1080120" cy="5298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prstClr val="black"/>
                  </a:solidFill>
                  <a:latin typeface="+mn-lt"/>
                </a:rPr>
                <a:t>2021 год</a:t>
              </a:r>
              <a:endParaRPr lang="ru-RU" sz="2800" b="1" dirty="0">
                <a:solidFill>
                  <a:prstClr val="black"/>
                </a:solidFill>
                <a:latin typeface="+mn-lt"/>
              </a:endParaRPr>
            </a:p>
          </p:txBody>
        </p:sp>
      </p:grpSp>
      <p:grpSp>
        <p:nvGrpSpPr>
          <p:cNvPr id="11" name="Группа 35"/>
          <p:cNvGrpSpPr/>
          <p:nvPr/>
        </p:nvGrpSpPr>
        <p:grpSpPr>
          <a:xfrm>
            <a:off x="0" y="2019104"/>
            <a:ext cx="3390900" cy="1457324"/>
            <a:chOff x="3425205" y="1278285"/>
            <a:chExt cx="2448272" cy="883143"/>
          </a:xfrm>
        </p:grpSpPr>
        <p:sp>
          <p:nvSpPr>
            <p:cNvPr id="12" name="Скругленный прямоугольник 11"/>
            <p:cNvSpPr/>
            <p:nvPr>
              <p:custDataLst>
                <p:tags r:id="rId4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43,294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3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Библиотечное обслуживание</a:t>
              </a:r>
            </a:p>
          </p:txBody>
        </p:sp>
      </p:grpSp>
      <p:grpSp>
        <p:nvGrpSpPr>
          <p:cNvPr id="14" name="Группа 20"/>
          <p:cNvGrpSpPr/>
          <p:nvPr/>
        </p:nvGrpSpPr>
        <p:grpSpPr>
          <a:xfrm>
            <a:off x="265623" y="4634078"/>
            <a:ext cx="3125277" cy="1723338"/>
            <a:chOff x="206082" y="2913496"/>
            <a:chExt cx="2448272" cy="793192"/>
          </a:xfrm>
        </p:grpSpPr>
        <p:sp>
          <p:nvSpPr>
            <p:cNvPr id="15" name="Скругленный прямоугольник 14"/>
            <p:cNvSpPr/>
            <p:nvPr>
              <p:custDataLst>
                <p:tags r:id="rId3"/>
              </p:custDataLst>
            </p:nvPr>
          </p:nvSpPr>
          <p:spPr>
            <a:xfrm>
              <a:off x="595891" y="3400107"/>
              <a:ext cx="1743221" cy="306581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29,398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6" name="AutoShape 32"/>
            <p:cNvSpPr>
              <a:spLocks noChangeArrowheads="1"/>
            </p:cNvSpPr>
            <p:nvPr/>
          </p:nvSpPr>
          <p:spPr bwMode="auto">
            <a:xfrm>
              <a:off x="206082" y="2913496"/>
              <a:ext cx="2448272" cy="474543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dirty="0" smtClean="0">
                  <a:latin typeface="+mj-lt"/>
                </a:rPr>
                <a:t>Модернизация детских школ искусств</a:t>
              </a:r>
            </a:p>
          </p:txBody>
        </p:sp>
      </p:grpSp>
      <p:grpSp>
        <p:nvGrpSpPr>
          <p:cNvPr id="20" name="Группа 35"/>
          <p:cNvGrpSpPr/>
          <p:nvPr/>
        </p:nvGrpSpPr>
        <p:grpSpPr>
          <a:xfrm>
            <a:off x="6229352" y="2019104"/>
            <a:ext cx="2811132" cy="2083875"/>
            <a:chOff x="3425205" y="710477"/>
            <a:chExt cx="2448272" cy="1261105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2"/>
              </p:custDataLst>
            </p:nvPr>
          </p:nvSpPr>
          <p:spPr>
            <a:xfrm>
              <a:off x="3793390" y="1591890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33,621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2" name="AutoShape 32"/>
            <p:cNvSpPr>
              <a:spLocks noChangeArrowheads="1"/>
            </p:cNvSpPr>
            <p:nvPr/>
          </p:nvSpPr>
          <p:spPr bwMode="auto">
            <a:xfrm>
              <a:off x="3425205" y="710477"/>
              <a:ext cx="2448272" cy="78501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Услуги культурно -досуговых  учреждений</a:t>
              </a:r>
            </a:p>
          </p:txBody>
        </p:sp>
      </p:grpSp>
      <p:grpSp>
        <p:nvGrpSpPr>
          <p:cNvPr id="23" name="Группа 35"/>
          <p:cNvGrpSpPr/>
          <p:nvPr/>
        </p:nvGrpSpPr>
        <p:grpSpPr>
          <a:xfrm>
            <a:off x="5948592" y="4756301"/>
            <a:ext cx="2914649" cy="1457324"/>
            <a:chOff x="3425205" y="1278285"/>
            <a:chExt cx="2448272" cy="883143"/>
          </a:xfrm>
        </p:grpSpPr>
        <p:sp>
          <p:nvSpPr>
            <p:cNvPr id="24" name="Скругленный прямоугольник 23"/>
            <p:cNvSpPr/>
            <p:nvPr>
              <p:custDataLst>
                <p:tags r:id="rId1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5,58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5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Культурно-массовые мероприятия</a:t>
              </a:r>
            </a:p>
          </p:txBody>
        </p:sp>
      </p:grpSp>
      <p:sp>
        <p:nvSpPr>
          <p:cNvPr id="26" name="Прямоугольник 25"/>
          <p:cNvSpPr>
            <a:spLocks noChangeArrowheads="1"/>
          </p:cNvSpPr>
          <p:nvPr/>
        </p:nvSpPr>
        <p:spPr bwMode="auto">
          <a:xfrm>
            <a:off x="7871637" y="13837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27" name="Рисунок 26" descr="http://zakupki-portal.ru/images/portal/news/cultura.jpg"/>
          <p:cNvPicPr/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9000" l="125" r="9887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1058" y="2558027"/>
            <a:ext cx="4390844" cy="35839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14270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733426" y="304597"/>
            <a:ext cx="8410574" cy="1078173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Развитие инфраструктуры, поддержка </a:t>
            </a:r>
            <a:r>
              <a:rPr lang="ru-RU" sz="2800" b="1" kern="0" spc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отраслей экономики </a:t>
            </a: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 и безопасность 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 в 2021 году</a:t>
            </a:r>
            <a:endParaRPr lang="ru-RU" sz="2800" b="1" dirty="0"/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4061670437"/>
              </p:ext>
            </p:extLst>
          </p:nvPr>
        </p:nvGraphicFramePr>
        <p:xfrm>
          <a:off x="-552450" y="2255972"/>
          <a:ext cx="4695825" cy="4506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410893" y="1477819"/>
            <a:ext cx="2457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в том числе:</a:t>
            </a:r>
            <a:endParaRPr lang="ru-RU" b="1" dirty="0">
              <a:solidFill>
                <a:schemeClr val="bg1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Штриховая стрелка вправо 27"/>
          <p:cNvSpPr/>
          <p:nvPr/>
        </p:nvSpPr>
        <p:spPr>
          <a:xfrm rot="16200000">
            <a:off x="388676" y="1402026"/>
            <a:ext cx="1546754" cy="2324102"/>
          </a:xfrm>
          <a:prstGeom prst="stripedRightArrow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-</a:t>
            </a:r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533400" y="2190750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  <a:latin typeface="+mn-lt"/>
              </a:rPr>
              <a:t>+205,5</a:t>
            </a:r>
            <a:endParaRPr lang="ru-RU" sz="2400" b="1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  <p:graphicFrame>
        <p:nvGraphicFramePr>
          <p:cNvPr id="27" name="Диаграмма 26"/>
          <p:cNvGraphicFramePr/>
          <p:nvPr/>
        </p:nvGraphicFramePr>
        <p:xfrm>
          <a:off x="3019426" y="1962150"/>
          <a:ext cx="6124576" cy="4895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5981700" y="1554019"/>
            <a:ext cx="2457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в том числе:</a:t>
            </a:r>
            <a:endParaRPr lang="ru-RU" b="1" dirty="0">
              <a:solidFill>
                <a:srgbClr val="002060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13" name="Прямоугольник 12"/>
          <p:cNvSpPr>
            <a:spLocks noChangeArrowheads="1"/>
          </p:cNvSpPr>
          <p:nvPr/>
        </p:nvSpPr>
        <p:spPr bwMode="auto">
          <a:xfrm>
            <a:off x="7871637" y="13837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27420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Содержимое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6287578"/>
              </p:ext>
            </p:extLst>
          </p:nvPr>
        </p:nvGraphicFramePr>
        <p:xfrm>
          <a:off x="-1527480" y="2409040"/>
          <a:ext cx="9147480" cy="2478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1182687" y="353047"/>
            <a:ext cx="7961313" cy="771726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труктура дорожного фонда города Пятигорска в динамике </a:t>
            </a:r>
          </a:p>
        </p:txBody>
      </p:sp>
      <p:sp>
        <p:nvSpPr>
          <p:cNvPr id="12" name="TextBox 11"/>
          <p:cNvSpPr txBox="1"/>
          <p:nvPr/>
        </p:nvSpPr>
        <p:spPr>
          <a:xfrm rot="321410">
            <a:off x="345078" y="5159686"/>
            <a:ext cx="40828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6801072" y="156450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11" name="Содержимое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65285947"/>
              </p:ext>
            </p:extLst>
          </p:nvPr>
        </p:nvGraphicFramePr>
        <p:xfrm>
          <a:off x="-553516" y="4087914"/>
          <a:ext cx="7886277" cy="2987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962554" y="4803729"/>
            <a:ext cx="8350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45,2</a:t>
            </a:r>
            <a:endParaRPr lang="ru-RU" sz="28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97675" y="4877310"/>
            <a:ext cx="8741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40,4</a:t>
            </a:r>
            <a:endParaRPr lang="ru-RU" sz="32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440970" y="4631915"/>
            <a:ext cx="8187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57,2</a:t>
            </a:r>
            <a:endParaRPr lang="ru-RU" sz="32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669310" y="4572896"/>
            <a:ext cx="8360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63,1</a:t>
            </a:r>
            <a:endParaRPr lang="ru-RU" sz="32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62809" y="2381859"/>
            <a:ext cx="4876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ru-RU" sz="1400" b="1" i="1" dirty="0" smtClean="0">
                <a:solidFill>
                  <a:srgbClr val="002060"/>
                </a:solidFill>
                <a:latin typeface="Arial"/>
                <a:cs typeface="+mn-cs"/>
              </a:rPr>
              <a:t>Субсидии краевого дорожного фонда</a:t>
            </a:r>
            <a:endParaRPr lang="ru-RU" sz="1400" b="1" i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911346960"/>
              </p:ext>
            </p:extLst>
          </p:nvPr>
        </p:nvGraphicFramePr>
        <p:xfrm>
          <a:off x="382291" y="966747"/>
          <a:ext cx="5942309" cy="1850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-727800" y="4288137"/>
            <a:ext cx="73343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ru-RU" sz="1400" b="1" i="1" dirty="0" smtClean="0">
                <a:solidFill>
                  <a:srgbClr val="002060"/>
                </a:solidFill>
                <a:latin typeface="Arial"/>
                <a:cs typeface="+mn-cs"/>
              </a:rPr>
              <a:t>Расходы дорожного фонда за счет собственных источников</a:t>
            </a:r>
            <a:endParaRPr lang="ru-RU" sz="1400" b="1" i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993444" y="3095154"/>
            <a:ext cx="8386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83,7</a:t>
            </a:r>
            <a:endParaRPr lang="ru-RU" sz="20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241983" y="3060648"/>
            <a:ext cx="9618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85,4</a:t>
            </a:r>
            <a:endParaRPr lang="ru-RU" sz="20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511998" y="2577911"/>
            <a:ext cx="9618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415,2</a:t>
            </a:r>
            <a:endParaRPr lang="ru-RU" sz="20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715774" y="2709157"/>
            <a:ext cx="9618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318,0</a:t>
            </a:r>
            <a:endParaRPr lang="ru-RU" sz="20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74394" y="1680643"/>
            <a:ext cx="9150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latin typeface="Arial"/>
              </a:rPr>
              <a:t>128,9</a:t>
            </a:r>
            <a:endParaRPr lang="ru-RU" sz="2000" b="1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209567" y="1688356"/>
            <a:ext cx="8886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latin typeface="Arial"/>
              </a:rPr>
              <a:t>125,8</a:t>
            </a:r>
            <a:endParaRPr lang="ru-RU" b="1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607743" y="1619270"/>
            <a:ext cx="10032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latin typeface="Arial"/>
              </a:rPr>
              <a:t>472,4</a:t>
            </a:r>
            <a:endParaRPr lang="ru-RU" sz="2000" b="1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785149" y="1732071"/>
            <a:ext cx="10032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latin typeface="Arial"/>
              </a:rPr>
              <a:t>381,1</a:t>
            </a:r>
            <a:endParaRPr lang="ru-RU" b="1" dirty="0">
              <a:solidFill>
                <a:srgbClr val="FF0000"/>
              </a:solidFill>
              <a:latin typeface="Arial"/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5846868" y="2114680"/>
            <a:ext cx="3297133" cy="3829255"/>
            <a:chOff x="4971124" y="1602266"/>
            <a:chExt cx="4180443" cy="3884134"/>
          </a:xfrm>
        </p:grpSpPr>
        <p:grpSp>
          <p:nvGrpSpPr>
            <p:cNvPr id="28" name="Группа 27"/>
            <p:cNvGrpSpPr/>
            <p:nvPr/>
          </p:nvGrpSpPr>
          <p:grpSpPr>
            <a:xfrm>
              <a:off x="5031974" y="3620836"/>
              <a:ext cx="4119593" cy="474008"/>
              <a:chOff x="5034995" y="2509874"/>
              <a:chExt cx="4345436" cy="533284"/>
            </a:xfrm>
            <a:solidFill>
              <a:schemeClr val="bg1">
                <a:lumMod val="85000"/>
              </a:schemeClr>
            </a:solidFill>
          </p:grpSpPr>
          <p:sp>
            <p:nvSpPr>
              <p:cNvPr id="48" name="Скругленный прямоугольник 47"/>
              <p:cNvSpPr/>
              <p:nvPr/>
            </p:nvSpPr>
            <p:spPr>
              <a:xfrm>
                <a:off x="5034995" y="2509874"/>
                <a:ext cx="4345436" cy="53328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scene3d>
                <a:camera prst="orthographicFront"/>
                <a:lightRig rig="threePt" dir="t"/>
              </a:scene3d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6000" rIns="144000" rtlCol="0" anchor="ctr"/>
              <a:lstStyle/>
              <a:p>
                <a:pPr>
                  <a:lnSpc>
                    <a:spcPts val="1000"/>
                  </a:lnSpc>
                  <a:defRPr/>
                </a:pPr>
                <a:r>
                  <a:rPr lang="ru-RU" sz="1300" b="1" dirty="0" smtClean="0">
                    <a:solidFill>
                      <a:schemeClr val="tx1"/>
                    </a:solidFill>
                  </a:rPr>
                  <a:t>Ремонт дорог местного значения по наказам избирателей </a:t>
                </a:r>
              </a:p>
            </p:txBody>
          </p:sp>
          <p:sp>
            <p:nvSpPr>
              <p:cNvPr id="49" name="Скругленный прямоугольник 48"/>
              <p:cNvSpPr/>
              <p:nvPr/>
            </p:nvSpPr>
            <p:spPr>
              <a:xfrm>
                <a:off x="5097732" y="2569150"/>
                <a:ext cx="218383" cy="41473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0000"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b="1" dirty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29" name="Группа 28"/>
            <p:cNvGrpSpPr/>
            <p:nvPr/>
          </p:nvGrpSpPr>
          <p:grpSpPr>
            <a:xfrm>
              <a:off x="4990011" y="2251179"/>
              <a:ext cx="4047662" cy="490914"/>
              <a:chOff x="4075347" y="4455145"/>
              <a:chExt cx="4794184" cy="518518"/>
            </a:xfrm>
            <a:solidFill>
              <a:srgbClr val="9ED3D7">
                <a:alpha val="56863"/>
              </a:srgbClr>
            </a:solidFill>
          </p:grpSpPr>
          <p:sp>
            <p:nvSpPr>
              <p:cNvPr id="46" name="Скругленный прямоугольник 45"/>
              <p:cNvSpPr/>
              <p:nvPr/>
            </p:nvSpPr>
            <p:spPr>
              <a:xfrm>
                <a:off x="4075347" y="4455145"/>
                <a:ext cx="4794184" cy="51851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scene3d>
                <a:camera prst="orthographicFront"/>
                <a:lightRig rig="threePt" dir="t"/>
              </a:scene3d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6000" rIns="144000" rtlCol="0" anchor="ctr"/>
              <a:lstStyle/>
              <a:p>
                <a:pPr>
                  <a:lnSpc>
                    <a:spcPts val="1000"/>
                  </a:lnSpc>
                  <a:defRPr/>
                </a:pPr>
                <a:r>
                  <a:rPr lang="ru-RU" sz="1400" b="1" dirty="0" smtClean="0">
                    <a:solidFill>
                      <a:schemeClr val="tx1"/>
                    </a:solidFill>
                  </a:rPr>
                  <a:t>Ремонт, сооружение, очистка ливневых канализаций</a:t>
                </a:r>
              </a:p>
            </p:txBody>
          </p:sp>
          <p:sp>
            <p:nvSpPr>
              <p:cNvPr id="47" name="Скругленный прямоугольник 46"/>
              <p:cNvSpPr/>
              <p:nvPr/>
            </p:nvSpPr>
            <p:spPr>
              <a:xfrm>
                <a:off x="4215747" y="4469981"/>
                <a:ext cx="144839" cy="433257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0000"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b="1" dirty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30" name="Группа 29"/>
            <p:cNvGrpSpPr/>
            <p:nvPr/>
          </p:nvGrpSpPr>
          <p:grpSpPr>
            <a:xfrm>
              <a:off x="4971124" y="1602266"/>
              <a:ext cx="4066554" cy="466517"/>
              <a:chOff x="4047943" y="5014937"/>
              <a:chExt cx="4785377" cy="583993"/>
            </a:xfrm>
            <a:solidFill>
              <a:srgbClr val="333399">
                <a:alpha val="34902"/>
              </a:srgbClr>
            </a:solidFill>
          </p:grpSpPr>
          <p:sp>
            <p:nvSpPr>
              <p:cNvPr id="44" name="Скругленный прямоугольник 43"/>
              <p:cNvSpPr/>
              <p:nvPr/>
            </p:nvSpPr>
            <p:spPr>
              <a:xfrm>
                <a:off x="4047943" y="5014937"/>
                <a:ext cx="4785377" cy="583993"/>
              </a:xfrm>
              <a:prstGeom prst="roundRect">
                <a:avLst>
                  <a:gd name="adj" fmla="val 46066"/>
                </a:avLst>
              </a:prstGeom>
              <a:solidFill>
                <a:srgbClr val="FFC000">
                  <a:alpha val="30196"/>
                </a:srgbClr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6000" rIns="144000" rtlCol="0" anchor="ctr"/>
              <a:lstStyle/>
              <a:p>
                <a:pPr defTabSz="756000">
                  <a:lnSpc>
                    <a:spcPts val="1000"/>
                  </a:lnSpc>
                  <a:defRPr/>
                </a:pPr>
                <a:r>
                  <a:rPr lang="ru-RU" sz="1400" b="1" dirty="0" smtClean="0">
                    <a:solidFill>
                      <a:schemeClr val="tx1"/>
                    </a:solidFill>
                  </a:rPr>
                  <a:t>Диагностика, обследование и паспортизация дорог</a:t>
                </a:r>
              </a:p>
            </p:txBody>
          </p:sp>
          <p:sp>
            <p:nvSpPr>
              <p:cNvPr id="45" name="Скругленный прямоугольник 44"/>
              <p:cNvSpPr/>
              <p:nvPr/>
            </p:nvSpPr>
            <p:spPr>
              <a:xfrm>
                <a:off x="4189539" y="5064963"/>
                <a:ext cx="164024" cy="483964"/>
              </a:xfrm>
              <a:prstGeom prst="roundRect">
                <a:avLst>
                  <a:gd name="adj" fmla="val 50000"/>
                </a:avLst>
              </a:prstGeom>
              <a:solidFill>
                <a:srgbClr val="FFCC66">
                  <a:alpha val="34902"/>
                </a:srgb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0000"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2400" b="1" dirty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31" name="Группа 30"/>
            <p:cNvGrpSpPr/>
            <p:nvPr/>
          </p:nvGrpSpPr>
          <p:grpSpPr>
            <a:xfrm>
              <a:off x="5074551" y="4359617"/>
              <a:ext cx="3963122" cy="455363"/>
              <a:chOff x="4045380" y="3795548"/>
              <a:chExt cx="4894460" cy="505578"/>
            </a:xfrm>
            <a:solidFill>
              <a:srgbClr val="3366FF">
                <a:alpha val="61176"/>
              </a:srgbClr>
            </a:solidFill>
          </p:grpSpPr>
          <p:sp>
            <p:nvSpPr>
              <p:cNvPr id="42" name="Скругленный прямоугольник 41"/>
              <p:cNvSpPr/>
              <p:nvPr/>
            </p:nvSpPr>
            <p:spPr>
              <a:xfrm>
                <a:off x="4045380" y="3795548"/>
                <a:ext cx="4894460" cy="50557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scene3d>
                <a:camera prst="orthographicFront"/>
                <a:lightRig rig="threePt" dir="t"/>
              </a:scene3d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6000" rIns="144000" rtlCol="0" anchor="ctr"/>
              <a:lstStyle/>
              <a:p>
                <a:pPr>
                  <a:lnSpc>
                    <a:spcPts val="1000"/>
                  </a:lnSpc>
                  <a:defRPr/>
                </a:pPr>
                <a:r>
                  <a:rPr lang="ru-RU" sz="1400" b="1" dirty="0" smtClean="0">
                    <a:solidFill>
                      <a:schemeClr val="tx1"/>
                    </a:solidFill>
                  </a:rPr>
                  <a:t>Строительство, реконструкция дорог</a:t>
                </a:r>
                <a:endParaRPr lang="ru-RU" sz="14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Скругленный прямоугольник 42"/>
              <p:cNvSpPr/>
              <p:nvPr/>
            </p:nvSpPr>
            <p:spPr>
              <a:xfrm>
                <a:off x="4213215" y="3836180"/>
                <a:ext cx="217438" cy="414731"/>
              </a:xfrm>
              <a:prstGeom prst="roundRect">
                <a:avLst>
                  <a:gd name="adj" fmla="val 50000"/>
                </a:avLst>
              </a:prstGeom>
              <a:solidFill>
                <a:srgbClr val="6699FF">
                  <a:alpha val="49020"/>
                </a:srgb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0000"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b="1" dirty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36" name="Группа 35"/>
            <p:cNvGrpSpPr/>
            <p:nvPr/>
          </p:nvGrpSpPr>
          <p:grpSpPr>
            <a:xfrm>
              <a:off x="5084315" y="5067299"/>
              <a:ext cx="3953357" cy="419101"/>
              <a:chOff x="4075348" y="5657966"/>
              <a:chExt cx="4864492" cy="415400"/>
            </a:xfrm>
            <a:solidFill>
              <a:srgbClr val="070713">
                <a:alpha val="36078"/>
              </a:srgbClr>
            </a:solidFill>
          </p:grpSpPr>
          <p:sp>
            <p:nvSpPr>
              <p:cNvPr id="40" name="Скругленный прямоугольник 39"/>
              <p:cNvSpPr/>
              <p:nvPr/>
            </p:nvSpPr>
            <p:spPr>
              <a:xfrm>
                <a:off x="4075348" y="5657966"/>
                <a:ext cx="4864492" cy="41540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scene3d>
                <a:camera prst="orthographicFront"/>
                <a:lightRig rig="threePt" dir="t"/>
              </a:scene3d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6000" rIns="144000" rtlCol="0" anchor="ctr"/>
              <a:lstStyle/>
              <a:p>
                <a:pPr>
                  <a:lnSpc>
                    <a:spcPts val="1000"/>
                  </a:lnSpc>
                  <a:defRPr/>
                </a:pPr>
                <a:r>
                  <a:rPr lang="ru-RU" sz="1400" b="1" dirty="0" smtClean="0">
                    <a:solidFill>
                      <a:schemeClr val="tx1"/>
                    </a:solidFill>
                  </a:rPr>
                  <a:t>Ремонт и содержание дорог</a:t>
                </a:r>
                <a:endParaRPr lang="ru-RU" sz="14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Скругленный прямоугольник 40"/>
              <p:cNvSpPr/>
              <p:nvPr/>
            </p:nvSpPr>
            <p:spPr>
              <a:xfrm>
                <a:off x="4255635" y="5695510"/>
                <a:ext cx="191559" cy="377856"/>
              </a:xfrm>
              <a:prstGeom prst="roundRect">
                <a:avLst>
                  <a:gd name="adj" fmla="val 50000"/>
                </a:avLst>
              </a:prstGeom>
              <a:solidFill>
                <a:srgbClr val="000000">
                  <a:alpha val="10196"/>
                </a:srgb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0000"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b="1" dirty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37" name="Группа 36"/>
            <p:cNvGrpSpPr/>
            <p:nvPr/>
          </p:nvGrpSpPr>
          <p:grpSpPr>
            <a:xfrm>
              <a:off x="4990028" y="2922354"/>
              <a:ext cx="4047668" cy="532461"/>
              <a:chOff x="4075368" y="2509874"/>
              <a:chExt cx="4864499" cy="474007"/>
            </a:xfrm>
            <a:solidFill>
              <a:srgbClr val="808080">
                <a:alpha val="52157"/>
              </a:srgbClr>
            </a:solidFill>
          </p:grpSpPr>
          <p:sp>
            <p:nvSpPr>
              <p:cNvPr id="38" name="Скругленный прямоугольник 37"/>
              <p:cNvSpPr/>
              <p:nvPr/>
            </p:nvSpPr>
            <p:spPr>
              <a:xfrm>
                <a:off x="4075368" y="2509874"/>
                <a:ext cx="4864499" cy="474007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scene3d>
                <a:camera prst="orthographicFront"/>
                <a:lightRig rig="threePt" dir="t"/>
              </a:scene3d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52000" rIns="144000" rtlCol="0" anchor="ctr"/>
              <a:lstStyle/>
              <a:p>
                <a:pPr>
                  <a:lnSpc>
                    <a:spcPts val="1000"/>
                  </a:lnSpc>
                  <a:defRPr/>
                </a:pPr>
                <a:r>
                  <a:rPr lang="ru-RU" sz="1400" b="1" dirty="0">
                    <a:solidFill>
                      <a:schemeClr val="tx1"/>
                    </a:solidFill>
                  </a:rPr>
                  <a:t>Повышение безопасности дорожного </a:t>
                </a:r>
                <a:r>
                  <a:rPr lang="ru-RU" sz="1400" b="1" dirty="0" smtClean="0">
                    <a:solidFill>
                      <a:schemeClr val="tx1"/>
                    </a:solidFill>
                  </a:rPr>
                  <a:t>движения</a:t>
                </a:r>
              </a:p>
            </p:txBody>
          </p:sp>
          <p:sp>
            <p:nvSpPr>
              <p:cNvPr id="39" name="Скругленный прямоугольник 38"/>
              <p:cNvSpPr/>
              <p:nvPr/>
            </p:nvSpPr>
            <p:spPr>
              <a:xfrm>
                <a:off x="4226911" y="2569151"/>
                <a:ext cx="219159" cy="340873"/>
              </a:xfrm>
              <a:prstGeom prst="roundRect">
                <a:avLst>
                  <a:gd name="adj" fmla="val 50000"/>
                </a:avLst>
              </a:prstGeom>
              <a:solidFill>
                <a:srgbClr val="B2B2B2">
                  <a:alpha val="49020"/>
                </a:srgb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0000"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b="1" dirty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065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3625405753"/>
              </p:ext>
            </p:extLst>
          </p:nvPr>
        </p:nvGraphicFramePr>
        <p:xfrm>
          <a:off x="-967994" y="485775"/>
          <a:ext cx="5676692" cy="4050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1182687" y="353047"/>
            <a:ext cx="7961313" cy="771726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труктура дорожного фонда города Пятигорска в 2021 году</a:t>
            </a:r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7765310" y="766410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25827" y="2435659"/>
            <a:ext cx="13620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FF0000"/>
                </a:solidFill>
                <a:latin typeface="Arial"/>
              </a:rPr>
              <a:t>381,1</a:t>
            </a:r>
            <a:endParaRPr lang="ru-RU" sz="3200" b="1" dirty="0">
              <a:solidFill>
                <a:srgbClr val="FF0000"/>
              </a:solidFill>
              <a:latin typeface="Arial"/>
            </a:endParaRPr>
          </a:p>
        </p:txBody>
      </p:sp>
      <p:pic>
        <p:nvPicPr>
          <p:cNvPr id="2050" name="Picture 2" descr="https://img2.freepng.ru/20180329/jlw/kisspng-car-road-traffic-light-computer-icons-clip-art-car-top-5abca3f5409083.2119137615223121812645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2000" r="9922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270" y="4226597"/>
            <a:ext cx="2784566" cy="2351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Группа 5"/>
          <p:cNvGrpSpPr/>
          <p:nvPr/>
        </p:nvGrpSpPr>
        <p:grpSpPr>
          <a:xfrm>
            <a:off x="4971121" y="1602264"/>
            <a:ext cx="4066552" cy="3884136"/>
            <a:chOff x="4971121" y="1602264"/>
            <a:chExt cx="4066552" cy="3884136"/>
          </a:xfrm>
        </p:grpSpPr>
        <p:grpSp>
          <p:nvGrpSpPr>
            <p:cNvPr id="7" name="Группа 6"/>
            <p:cNvGrpSpPr/>
            <p:nvPr/>
          </p:nvGrpSpPr>
          <p:grpSpPr>
            <a:xfrm>
              <a:off x="5031974" y="3620836"/>
              <a:ext cx="4005699" cy="474008"/>
              <a:chOff x="5034995" y="2509874"/>
              <a:chExt cx="4225298" cy="533284"/>
            </a:xfrm>
            <a:solidFill>
              <a:schemeClr val="bg1">
                <a:lumMod val="85000"/>
              </a:schemeClr>
            </a:solidFill>
          </p:grpSpPr>
          <p:sp>
            <p:nvSpPr>
              <p:cNvPr id="24" name="Скругленный прямоугольник 23"/>
              <p:cNvSpPr/>
              <p:nvPr/>
            </p:nvSpPr>
            <p:spPr>
              <a:xfrm>
                <a:off x="5034995" y="2509874"/>
                <a:ext cx="4225298" cy="533284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scene3d>
                <a:camera prst="orthographicFront"/>
                <a:lightRig rig="threePt" dir="t"/>
              </a:scene3d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48000" rIns="144000" rtlCol="0" anchor="ctr"/>
              <a:lstStyle/>
              <a:p>
                <a:pPr>
                  <a:lnSpc>
                    <a:spcPts val="1400"/>
                  </a:lnSpc>
                  <a:defRPr/>
                </a:pPr>
                <a:r>
                  <a:rPr lang="ru-RU" sz="1200" b="1" dirty="0" smtClean="0">
                    <a:solidFill>
                      <a:schemeClr val="tx1"/>
                    </a:solidFill>
                  </a:rPr>
                  <a:t>Ремонт дорог местного значения по наказам избирателей </a:t>
                </a:r>
              </a:p>
            </p:txBody>
          </p:sp>
          <p:sp>
            <p:nvSpPr>
              <p:cNvPr id="26" name="Скругленный прямоугольник 25"/>
              <p:cNvSpPr/>
              <p:nvPr/>
            </p:nvSpPr>
            <p:spPr>
              <a:xfrm>
                <a:off x="5157187" y="2585130"/>
                <a:ext cx="1089768" cy="41473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0000"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b="1" dirty="0" smtClean="0">
                    <a:solidFill>
                      <a:schemeClr val="tx1"/>
                    </a:solidFill>
                    <a:ea typeface="Tahoma" pitchFamily="34" charset="0"/>
                    <a:cs typeface="Tahoma" pitchFamily="34" charset="0"/>
                  </a:rPr>
                  <a:t>16,5</a:t>
                </a:r>
                <a:endParaRPr lang="ru-RU" b="1" dirty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1" name="Группа 10"/>
            <p:cNvGrpSpPr/>
            <p:nvPr/>
          </p:nvGrpSpPr>
          <p:grpSpPr>
            <a:xfrm>
              <a:off x="4990011" y="2251179"/>
              <a:ext cx="4047662" cy="490914"/>
              <a:chOff x="4075347" y="4455145"/>
              <a:chExt cx="4794184" cy="518518"/>
            </a:xfrm>
            <a:solidFill>
              <a:srgbClr val="9ED3D7">
                <a:alpha val="56863"/>
              </a:srgbClr>
            </a:solidFill>
          </p:grpSpPr>
          <p:sp>
            <p:nvSpPr>
              <p:cNvPr id="23" name="Скругленный прямоугольник 22"/>
              <p:cNvSpPr/>
              <p:nvPr/>
            </p:nvSpPr>
            <p:spPr>
              <a:xfrm>
                <a:off x="4075347" y="4455145"/>
                <a:ext cx="4794184" cy="51851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scene3d>
                <a:camera prst="orthographicFront"/>
                <a:lightRig rig="threePt" dir="t"/>
              </a:scene3d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48000" rIns="144000" rtlCol="0" anchor="ctr"/>
              <a:lstStyle/>
              <a:p>
                <a:pPr>
                  <a:lnSpc>
                    <a:spcPts val="1400"/>
                  </a:lnSpc>
                  <a:defRPr/>
                </a:pPr>
                <a:r>
                  <a:rPr lang="ru-RU" sz="1200" b="1" dirty="0" smtClean="0">
                    <a:solidFill>
                      <a:schemeClr val="tx1"/>
                    </a:solidFill>
                  </a:rPr>
                  <a:t>Ремонт, сооружение, очистка ливневых канализаций</a:t>
                </a:r>
              </a:p>
            </p:txBody>
          </p:sp>
          <p:sp>
            <p:nvSpPr>
              <p:cNvPr id="28" name="Скругленный прямоугольник 27"/>
              <p:cNvSpPr/>
              <p:nvPr/>
            </p:nvSpPr>
            <p:spPr>
              <a:xfrm>
                <a:off x="4215746" y="4469982"/>
                <a:ext cx="1270182" cy="433257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0000"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b="1" dirty="0" smtClean="0">
                    <a:solidFill>
                      <a:schemeClr val="tx1"/>
                    </a:solidFill>
                    <a:ea typeface="Tahoma" pitchFamily="34" charset="0"/>
                    <a:cs typeface="Tahoma" pitchFamily="34" charset="0"/>
                  </a:rPr>
                  <a:t>3,6</a:t>
                </a:r>
                <a:endParaRPr lang="ru-RU" sz="2600" b="1" dirty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12" name="Группа 11"/>
            <p:cNvGrpSpPr/>
            <p:nvPr/>
          </p:nvGrpSpPr>
          <p:grpSpPr>
            <a:xfrm>
              <a:off x="4971121" y="1602264"/>
              <a:ext cx="4066552" cy="466518"/>
              <a:chOff x="4047942" y="5014949"/>
              <a:chExt cx="4785376" cy="583996"/>
            </a:xfrm>
            <a:solidFill>
              <a:srgbClr val="333399">
                <a:alpha val="34902"/>
              </a:srgbClr>
            </a:solidFill>
          </p:grpSpPr>
          <p:sp>
            <p:nvSpPr>
              <p:cNvPr id="22" name="Скругленный прямоугольник 21"/>
              <p:cNvSpPr/>
              <p:nvPr/>
            </p:nvSpPr>
            <p:spPr>
              <a:xfrm>
                <a:off x="4047942" y="5014949"/>
                <a:ext cx="4785376" cy="583996"/>
              </a:xfrm>
              <a:prstGeom prst="roundRect">
                <a:avLst>
                  <a:gd name="adj" fmla="val 46066"/>
                </a:avLst>
              </a:prstGeom>
              <a:grpFill/>
              <a:ln>
                <a:noFill/>
              </a:ln>
              <a:scene3d>
                <a:camera prst="orthographicFront"/>
                <a:lightRig rig="threePt" dir="t"/>
              </a:scene3d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48000" rIns="144000" rtlCol="0" anchor="ctr"/>
              <a:lstStyle/>
              <a:p>
                <a:pPr defTabSz="756000">
                  <a:lnSpc>
                    <a:spcPts val="1400"/>
                  </a:lnSpc>
                  <a:defRPr/>
                </a:pPr>
                <a:r>
                  <a:rPr lang="ru-RU" sz="1200" b="1" dirty="0" smtClean="0">
                    <a:solidFill>
                      <a:schemeClr val="tx1"/>
                    </a:solidFill>
                  </a:rPr>
                  <a:t>Диагностика, обследование и паспортизация дорог</a:t>
                </a:r>
              </a:p>
            </p:txBody>
          </p:sp>
          <p:sp>
            <p:nvSpPr>
              <p:cNvPr id="29" name="Скругленный прямоугольник 28"/>
              <p:cNvSpPr/>
              <p:nvPr/>
            </p:nvSpPr>
            <p:spPr>
              <a:xfrm>
                <a:off x="4189539" y="5064964"/>
                <a:ext cx="1282083" cy="483964"/>
              </a:xfrm>
              <a:prstGeom prst="roundRect">
                <a:avLst>
                  <a:gd name="adj" fmla="val 50000"/>
                </a:avLst>
              </a:prstGeom>
              <a:solidFill>
                <a:srgbClr val="6666FF">
                  <a:alpha val="14902"/>
                </a:srgb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0000"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b="1" dirty="0" smtClean="0">
                    <a:solidFill>
                      <a:schemeClr val="tx1"/>
                    </a:solidFill>
                    <a:ea typeface="Tahoma" pitchFamily="34" charset="0"/>
                    <a:cs typeface="Tahoma" pitchFamily="34" charset="0"/>
                  </a:rPr>
                  <a:t>0,1</a:t>
                </a:r>
                <a:endParaRPr lang="ru-RU" sz="2600" b="1" dirty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9" name="Группа 8"/>
            <p:cNvGrpSpPr/>
            <p:nvPr/>
          </p:nvGrpSpPr>
          <p:grpSpPr>
            <a:xfrm>
              <a:off x="5074551" y="4359617"/>
              <a:ext cx="3963122" cy="455363"/>
              <a:chOff x="4045380" y="3795548"/>
              <a:chExt cx="4894460" cy="505578"/>
            </a:xfrm>
            <a:solidFill>
              <a:srgbClr val="3366FF">
                <a:alpha val="61176"/>
              </a:srgbClr>
            </a:solidFill>
          </p:grpSpPr>
          <p:sp>
            <p:nvSpPr>
              <p:cNvPr id="31" name="Скругленный прямоугольник 30"/>
              <p:cNvSpPr/>
              <p:nvPr/>
            </p:nvSpPr>
            <p:spPr>
              <a:xfrm>
                <a:off x="4045380" y="3795548"/>
                <a:ext cx="4894460" cy="50557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scene3d>
                <a:camera prst="orthographicFront"/>
                <a:lightRig rig="threePt" dir="t"/>
              </a:scene3d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48000" rIns="144000" rtlCol="0" anchor="ctr"/>
              <a:lstStyle/>
              <a:p>
                <a:pPr>
                  <a:lnSpc>
                    <a:spcPts val="1400"/>
                  </a:lnSpc>
                  <a:defRPr/>
                </a:pPr>
                <a:r>
                  <a:rPr lang="ru-RU" sz="1200" b="1" dirty="0" smtClean="0">
                    <a:solidFill>
                      <a:schemeClr val="tx1"/>
                    </a:solidFill>
                  </a:rPr>
                  <a:t>Строительство, реконструкция, дорог</a:t>
                </a:r>
                <a:endParaRPr lang="ru-RU" sz="12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Скругленный прямоугольник 29"/>
              <p:cNvSpPr/>
              <p:nvPr/>
            </p:nvSpPr>
            <p:spPr>
              <a:xfrm>
                <a:off x="4213213" y="3836180"/>
                <a:ext cx="1234096" cy="414731"/>
              </a:xfrm>
              <a:prstGeom prst="roundRect">
                <a:avLst>
                  <a:gd name="adj" fmla="val 50000"/>
                </a:avLst>
              </a:prstGeom>
              <a:solidFill>
                <a:srgbClr val="6699FF">
                  <a:alpha val="49020"/>
                </a:srgb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0000"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b="1" dirty="0" smtClean="0">
                    <a:solidFill>
                      <a:schemeClr val="tx1"/>
                    </a:solidFill>
                    <a:ea typeface="Tahoma" pitchFamily="34" charset="0"/>
                    <a:cs typeface="Tahoma" pitchFamily="34" charset="0"/>
                  </a:rPr>
                  <a:t>26,2</a:t>
                </a:r>
                <a:endParaRPr lang="ru-RU" b="1" dirty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2" name="Группа 1"/>
            <p:cNvGrpSpPr/>
            <p:nvPr/>
          </p:nvGrpSpPr>
          <p:grpSpPr>
            <a:xfrm>
              <a:off x="5084315" y="5067299"/>
              <a:ext cx="3953357" cy="419101"/>
              <a:chOff x="4075348" y="5657966"/>
              <a:chExt cx="4864492" cy="415400"/>
            </a:xfrm>
            <a:solidFill>
              <a:srgbClr val="070713">
                <a:alpha val="36078"/>
              </a:srgbClr>
            </a:solidFill>
          </p:grpSpPr>
          <p:sp>
            <p:nvSpPr>
              <p:cNvPr id="19" name="Скругленный прямоугольник 18"/>
              <p:cNvSpPr/>
              <p:nvPr/>
            </p:nvSpPr>
            <p:spPr>
              <a:xfrm>
                <a:off x="4075348" y="5657966"/>
                <a:ext cx="4864492" cy="41540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scene3d>
                <a:camera prst="orthographicFront"/>
                <a:lightRig rig="threePt" dir="t"/>
              </a:scene3d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48000" rIns="144000" rtlCol="0" anchor="ctr"/>
              <a:lstStyle/>
              <a:p>
                <a:pPr>
                  <a:lnSpc>
                    <a:spcPts val="1400"/>
                  </a:lnSpc>
                  <a:defRPr/>
                </a:pPr>
                <a:r>
                  <a:rPr lang="ru-RU" sz="1200" b="1" dirty="0" smtClean="0">
                    <a:solidFill>
                      <a:schemeClr val="tx1"/>
                    </a:solidFill>
                  </a:rPr>
                  <a:t>Ремонт и содержание дорог</a:t>
                </a:r>
                <a:endParaRPr lang="ru-RU" sz="12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Скругленный прямоугольник 20"/>
              <p:cNvSpPr/>
              <p:nvPr/>
            </p:nvSpPr>
            <p:spPr>
              <a:xfrm>
                <a:off x="4255637" y="5695510"/>
                <a:ext cx="1204484" cy="377856"/>
              </a:xfrm>
              <a:prstGeom prst="roundRect">
                <a:avLst>
                  <a:gd name="adj" fmla="val 50000"/>
                </a:avLst>
              </a:prstGeom>
              <a:solidFill>
                <a:srgbClr val="000000">
                  <a:alpha val="10196"/>
                </a:srgb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0000"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b="1" dirty="0" smtClean="0">
                    <a:solidFill>
                      <a:schemeClr val="tx1"/>
                    </a:solidFill>
                    <a:ea typeface="Tahoma" pitchFamily="34" charset="0"/>
                    <a:cs typeface="Tahoma" pitchFamily="34" charset="0"/>
                  </a:rPr>
                  <a:t>327,5</a:t>
                </a:r>
                <a:endParaRPr lang="ru-RU" b="1" dirty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33" name="Группа 32"/>
            <p:cNvGrpSpPr/>
            <p:nvPr/>
          </p:nvGrpSpPr>
          <p:grpSpPr>
            <a:xfrm>
              <a:off x="4990011" y="2922354"/>
              <a:ext cx="4047662" cy="532461"/>
              <a:chOff x="4075349" y="2509874"/>
              <a:chExt cx="4864491" cy="474007"/>
            </a:xfrm>
            <a:solidFill>
              <a:srgbClr val="808080">
                <a:alpha val="52157"/>
              </a:srgbClr>
            </a:solidFill>
          </p:grpSpPr>
          <p:sp>
            <p:nvSpPr>
              <p:cNvPr id="34" name="Скругленный прямоугольник 33"/>
              <p:cNvSpPr/>
              <p:nvPr/>
            </p:nvSpPr>
            <p:spPr>
              <a:xfrm>
                <a:off x="4075349" y="2509874"/>
                <a:ext cx="4864491" cy="474007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scene3d>
                <a:camera prst="orthographicFront"/>
                <a:lightRig rig="threePt" dir="t"/>
              </a:scene3d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48000" rIns="144000" rtlCol="0" anchor="ctr"/>
              <a:lstStyle/>
              <a:p>
                <a:pPr>
                  <a:lnSpc>
                    <a:spcPts val="1400"/>
                  </a:lnSpc>
                  <a:defRPr/>
                </a:pPr>
                <a:r>
                  <a:rPr lang="ru-RU" sz="1200" b="1" dirty="0">
                    <a:solidFill>
                      <a:schemeClr val="tx1"/>
                    </a:solidFill>
                  </a:rPr>
                  <a:t>Повышение безопасности дорожного </a:t>
                </a:r>
                <a:r>
                  <a:rPr lang="ru-RU" sz="1200" b="1" dirty="0" smtClean="0">
                    <a:solidFill>
                      <a:schemeClr val="tx1"/>
                    </a:solidFill>
                  </a:rPr>
                  <a:t>движения</a:t>
                </a:r>
              </a:p>
            </p:txBody>
          </p:sp>
          <p:sp>
            <p:nvSpPr>
              <p:cNvPr id="35" name="Скругленный прямоугольник 34"/>
              <p:cNvSpPr/>
              <p:nvPr/>
            </p:nvSpPr>
            <p:spPr>
              <a:xfrm>
                <a:off x="4226911" y="2569151"/>
                <a:ext cx="1314282" cy="340873"/>
              </a:xfrm>
              <a:prstGeom prst="roundRect">
                <a:avLst>
                  <a:gd name="adj" fmla="val 50000"/>
                </a:avLst>
              </a:prstGeom>
              <a:solidFill>
                <a:srgbClr val="B2B2B2">
                  <a:alpha val="49020"/>
                </a:srgb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180000"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b="1" dirty="0" smtClean="0">
                    <a:solidFill>
                      <a:schemeClr val="tx1"/>
                    </a:solidFill>
                    <a:ea typeface="Tahoma" pitchFamily="34" charset="0"/>
                    <a:cs typeface="Tahoma" pitchFamily="34" charset="0"/>
                  </a:rPr>
                  <a:t>7,2</a:t>
                </a:r>
                <a:endParaRPr lang="ru-RU" b="1" dirty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graphicFrame>
        <p:nvGraphicFramePr>
          <p:cNvPr id="27" name="Содержимое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08094801"/>
              </p:ext>
            </p:extLst>
          </p:nvPr>
        </p:nvGraphicFramePr>
        <p:xfrm>
          <a:off x="3102236" y="1492370"/>
          <a:ext cx="1483780" cy="4909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86303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Содержимое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4298862"/>
              </p:ext>
            </p:extLst>
          </p:nvPr>
        </p:nvGraphicFramePr>
        <p:xfrm>
          <a:off x="-449488" y="1250734"/>
          <a:ext cx="9721079" cy="55714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AutoShape 6" descr="https://www.clipartmax.com/png/full/117-1170268_environment-icon-png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0" name="AutoShape 8" descr="https://www.clipartmax.com/png/full/117-1170268_environment-icon-png.pn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1" name="AutoShape 10" descr="https://www.clipartmax.com/png/full/117-1170268_environment-icon-png.pn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4" name="Заголовок 2"/>
          <p:cNvSpPr txBox="1">
            <a:spLocks/>
          </p:cNvSpPr>
          <p:nvPr/>
        </p:nvSpPr>
        <p:spPr>
          <a:xfrm>
            <a:off x="-1" y="-307495"/>
            <a:ext cx="9144001" cy="1658453"/>
          </a:xfrm>
          <a:prstGeom prst="rect">
            <a:avLst/>
          </a:prstGeom>
          <a:solidFill>
            <a:srgbClr val="99CCFF"/>
          </a:solidFill>
          <a:ln w="6350" cap="rnd">
            <a:noFill/>
          </a:ln>
        </p:spPr>
        <p:txBody>
          <a:bodyPr vert="horz" rtlCol="0" anchor="ctr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alt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cs typeface="Arial"/>
              </a:rPr>
              <a:t>Содержание объектов </a:t>
            </a:r>
          </a:p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alt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cs typeface="Arial"/>
              </a:rPr>
              <a:t>благоустройства</a:t>
            </a:r>
            <a:endParaRPr lang="ru-RU" sz="2800" b="1" kern="0" spc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  <a:cs typeface="Arial"/>
            </a:endParaRPr>
          </a:p>
        </p:txBody>
      </p:sp>
      <p:pic>
        <p:nvPicPr>
          <p:cNvPr id="32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47" y="26086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https://thumbs.dreamstime.com/b/green-tree-shovel-2001450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2503" b="96179" l="1625" r="9937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902" y="160337"/>
            <a:ext cx="2272945" cy="2156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https://img2.freepng.ru/20190318/oip/kisspng-gardening-agriculture-product-crop-illustration-5c8f62fdb4aa76.06478275155290086174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735" b="100000" l="1556" r="986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573968" y="759328"/>
            <a:ext cx="1970935" cy="1489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4237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AutoShape 6" descr="https://www.clipartmax.com/png/full/117-1170268_environment-icon-png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0" name="AutoShape 8" descr="https://www.clipartmax.com/png/full/117-1170268_environment-icon-png.pn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1" name="AutoShape 10" descr="https://www.clipartmax.com/png/full/117-1170268_environment-icon-png.pn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4" name="Заголовок 2"/>
          <p:cNvSpPr txBox="1">
            <a:spLocks/>
          </p:cNvSpPr>
          <p:nvPr/>
        </p:nvSpPr>
        <p:spPr>
          <a:xfrm>
            <a:off x="1" y="38723"/>
            <a:ext cx="9144000" cy="1660211"/>
          </a:xfrm>
          <a:prstGeom prst="rect">
            <a:avLst/>
          </a:prstGeom>
          <a:solidFill>
            <a:srgbClr val="99CCFF"/>
          </a:solidFill>
          <a:ln w="6350" cap="rnd">
            <a:noFill/>
          </a:ln>
        </p:spPr>
        <p:txBody>
          <a:bodyPr vert="horz" rtlCol="0" anchor="ctr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endParaRPr lang="ru-RU" altLang="ru-RU" sz="2800" b="1" kern="0" spc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  <a:cs typeface="Arial"/>
            </a:endParaRPr>
          </a:p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alt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cs typeface="Arial"/>
              </a:rPr>
              <a:t>Создание новых объектов </a:t>
            </a:r>
          </a:p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alt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cs typeface="Arial"/>
              </a:rPr>
              <a:t>благоустройства</a:t>
            </a:r>
            <a:endParaRPr lang="ru-RU" sz="2800" b="1" kern="0" spc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  <a:cs typeface="Arial"/>
            </a:endParaRPr>
          </a:p>
        </p:txBody>
      </p:sp>
      <p:pic>
        <p:nvPicPr>
          <p:cNvPr id="32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47" y="160337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https://st4.depositphotos.com/16038092/23360/v/950/depositphotos_233608424-stock-illustration-spring-park-public-park-city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5" y="1698934"/>
            <a:ext cx="3049185" cy="156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Группа 2"/>
          <p:cNvGrpSpPr/>
          <p:nvPr/>
        </p:nvGrpSpPr>
        <p:grpSpPr>
          <a:xfrm>
            <a:off x="158714" y="3653412"/>
            <a:ext cx="8805098" cy="2722820"/>
            <a:chOff x="322032" y="3184532"/>
            <a:chExt cx="8805098" cy="2722820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1235321" y="3184532"/>
              <a:ext cx="3640348" cy="772005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 fontAlgn="t">
                <a:lnSpc>
                  <a:spcPts val="1500"/>
                </a:lnSpc>
              </a:pPr>
              <a:r>
                <a:rPr lang="ru-RU" b="1" dirty="0">
                  <a:solidFill>
                    <a:srgbClr val="003300"/>
                  </a:solidFill>
                  <a:latin typeface="Arial" pitchFamily="34" charset="0"/>
                  <a:cs typeface="Arial" pitchFamily="34" charset="0"/>
                </a:rPr>
                <a:t>Формирование городской среды и благоустройство</a:t>
              </a:r>
            </a:p>
            <a:p>
              <a:pPr algn="ctr" fontAlgn="t">
                <a:lnSpc>
                  <a:spcPts val="1300"/>
                </a:lnSpc>
              </a:pPr>
              <a:r>
                <a:rPr lang="ru-RU" b="1" dirty="0">
                  <a:solidFill>
                    <a:srgbClr val="003300"/>
                  </a:solidFill>
                  <a:latin typeface="Arial" pitchFamily="34" charset="0"/>
                  <a:cs typeface="Arial" pitchFamily="34" charset="0"/>
                </a:rPr>
                <a:t> парков, скверов</a:t>
              </a:r>
            </a:p>
            <a:p>
              <a:pPr algn="ctr" fontAlgn="t">
                <a:lnSpc>
                  <a:spcPts val="1000"/>
                </a:lnSpc>
              </a:pPr>
              <a:r>
                <a:rPr lang="ru-RU" b="1" dirty="0" smtClean="0">
                  <a:solidFill>
                    <a:srgbClr val="003300"/>
                  </a:solidFill>
                  <a:latin typeface="+mn-lt"/>
                </a:rPr>
                <a:t> </a:t>
              </a:r>
              <a:endParaRPr lang="ru-RU" b="1" dirty="0">
                <a:solidFill>
                  <a:srgbClr val="003300"/>
                </a:solidFill>
                <a:latin typeface="+mn-lt"/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397057" y="4057460"/>
              <a:ext cx="707124" cy="246221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accent3"/>
                  </a:solidFill>
                </a:rPr>
                <a:t>2</a:t>
              </a:r>
              <a:r>
                <a:rPr lang="ru-RU" sz="2000" b="1" dirty="0">
                  <a:solidFill>
                    <a:schemeClr val="accent3"/>
                  </a:solidFill>
                </a:rPr>
                <a:t>02</a:t>
              </a:r>
              <a:r>
                <a:rPr lang="ru-RU" sz="2000" b="1" dirty="0" smtClean="0">
                  <a:solidFill>
                    <a:schemeClr val="accent3"/>
                  </a:solidFill>
                </a:rPr>
                <a:t>1</a:t>
              </a:r>
              <a:endParaRPr lang="ru-RU" sz="2000" b="1" dirty="0">
                <a:solidFill>
                  <a:schemeClr val="accent3"/>
                </a:solidFill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378388" y="4585896"/>
              <a:ext cx="744462" cy="246221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accent3"/>
                  </a:solidFill>
                </a:rPr>
                <a:t>2020</a:t>
              </a:r>
              <a:endParaRPr lang="ru-RU" sz="2000" b="1" dirty="0">
                <a:solidFill>
                  <a:schemeClr val="accent3"/>
                </a:solidFill>
              </a:endParaRP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397057" y="5071726"/>
              <a:ext cx="707124" cy="246221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accent3"/>
                  </a:solidFill>
                </a:rPr>
                <a:t>2019</a:t>
              </a:r>
              <a:endParaRPr lang="ru-RU" sz="2000" b="1" dirty="0">
                <a:solidFill>
                  <a:schemeClr val="accent3"/>
                </a:solidFill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322032" y="5552431"/>
              <a:ext cx="782149" cy="246221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accent3"/>
                  </a:solidFill>
                </a:rPr>
                <a:t>2018</a:t>
              </a:r>
              <a:endParaRPr lang="ru-RU" sz="2000" b="1" dirty="0">
                <a:solidFill>
                  <a:schemeClr val="accent3"/>
                </a:solidFill>
              </a:endParaRPr>
            </a:p>
          </p:txBody>
        </p:sp>
        <p:sp>
          <p:nvSpPr>
            <p:cNvPr id="11" name="Скругленный прямоугольник 10"/>
            <p:cNvSpPr/>
            <p:nvPr/>
          </p:nvSpPr>
          <p:spPr>
            <a:xfrm>
              <a:off x="1104181" y="3870207"/>
              <a:ext cx="1019476" cy="534397"/>
            </a:xfrm>
            <a:prstGeom prst="roundRect">
              <a:avLst>
                <a:gd name="adj" fmla="val 32849"/>
              </a:avLst>
            </a:prstGeom>
            <a:solidFill>
              <a:srgbClr val="C3D5C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136,3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2" name="Скругленный прямоугольник 11"/>
            <p:cNvSpPr/>
            <p:nvPr/>
          </p:nvSpPr>
          <p:spPr>
            <a:xfrm>
              <a:off x="1104181" y="4493541"/>
              <a:ext cx="1019476" cy="433762"/>
            </a:xfrm>
            <a:prstGeom prst="roundRect">
              <a:avLst>
                <a:gd name="adj" fmla="val 32849"/>
              </a:avLst>
            </a:prstGeom>
            <a:solidFill>
              <a:srgbClr val="C3D5C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131,0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1104181" y="4997224"/>
              <a:ext cx="1019476" cy="448069"/>
            </a:xfrm>
            <a:prstGeom prst="roundRect">
              <a:avLst>
                <a:gd name="adj" fmla="val 32849"/>
              </a:avLst>
            </a:prstGeom>
            <a:solidFill>
              <a:srgbClr val="C3D5C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234,9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1104181" y="5459282"/>
              <a:ext cx="1019476" cy="448069"/>
            </a:xfrm>
            <a:prstGeom prst="roundRect">
              <a:avLst>
                <a:gd name="adj" fmla="val 32849"/>
              </a:avLst>
            </a:prstGeom>
            <a:solidFill>
              <a:srgbClr val="C3D5C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82,5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8389038" y="4094626"/>
              <a:ext cx="667782" cy="246221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accent3"/>
                  </a:solidFill>
                </a:rPr>
                <a:t>2021</a:t>
              </a:r>
              <a:endParaRPr lang="ru-RU" sz="2000" b="1" dirty="0">
                <a:solidFill>
                  <a:schemeClr val="accent3"/>
                </a:solidFill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8329918" y="4602487"/>
              <a:ext cx="797212" cy="246221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accent3"/>
                  </a:solidFill>
                </a:rPr>
                <a:t>2020</a:t>
              </a:r>
              <a:endParaRPr lang="ru-RU" sz="2000" b="1" dirty="0">
                <a:solidFill>
                  <a:schemeClr val="accent3"/>
                </a:solidFill>
              </a:endParaRP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8400228" y="5114859"/>
              <a:ext cx="726902" cy="246221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accent3"/>
                  </a:solidFill>
                </a:rPr>
                <a:t>2019</a:t>
              </a:r>
              <a:endParaRPr lang="ru-RU" sz="2000" b="1" dirty="0">
                <a:solidFill>
                  <a:schemeClr val="accent3"/>
                </a:solidFill>
              </a:endParaRPr>
            </a:p>
          </p:txBody>
        </p:sp>
        <p:sp>
          <p:nvSpPr>
            <p:cNvPr id="24" name="Скругленный прямоугольник 23"/>
            <p:cNvSpPr/>
            <p:nvPr/>
          </p:nvSpPr>
          <p:spPr>
            <a:xfrm>
              <a:off x="7498111" y="3870207"/>
              <a:ext cx="921270" cy="548411"/>
            </a:xfrm>
            <a:prstGeom prst="roundRect">
              <a:avLst>
                <a:gd name="adj" fmla="val 32849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37,50</a:t>
              </a:r>
            </a:p>
          </p:txBody>
        </p:sp>
        <p:sp>
          <p:nvSpPr>
            <p:cNvPr id="25" name="Скругленный прямоугольник 24"/>
            <p:cNvSpPr/>
            <p:nvPr/>
          </p:nvSpPr>
          <p:spPr>
            <a:xfrm>
              <a:off x="7498111" y="4509175"/>
              <a:ext cx="921270" cy="419454"/>
            </a:xfrm>
            <a:prstGeom prst="roundRect">
              <a:avLst>
                <a:gd name="adj" fmla="val 32849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36,69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26" name="Скругленный прямоугольник 25"/>
            <p:cNvSpPr/>
            <p:nvPr/>
          </p:nvSpPr>
          <p:spPr>
            <a:xfrm>
              <a:off x="7498111" y="5012745"/>
              <a:ext cx="921270" cy="417028"/>
            </a:xfrm>
            <a:prstGeom prst="roundRect">
              <a:avLst>
                <a:gd name="adj" fmla="val 32849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46,16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5560637" y="3281621"/>
              <a:ext cx="256106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ru-RU" b="1" dirty="0" smtClean="0">
                  <a:solidFill>
                    <a:srgbClr val="003300"/>
                  </a:solidFill>
                  <a:latin typeface="Arial" pitchFamily="34" charset="0"/>
                  <a:cs typeface="Arial" pitchFamily="34" charset="0"/>
                </a:rPr>
                <a:t>Расходы за счет курортного сбора</a:t>
              </a:r>
              <a:endParaRPr lang="ru-RU" b="1" dirty="0">
                <a:solidFill>
                  <a:srgbClr val="0033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" name="Скругленный прямоугольник 37"/>
            <p:cNvSpPr/>
            <p:nvPr/>
          </p:nvSpPr>
          <p:spPr>
            <a:xfrm>
              <a:off x="2158164" y="3870208"/>
              <a:ext cx="2698320" cy="548412"/>
            </a:xfrm>
            <a:prstGeom prst="roundRect">
              <a:avLst>
                <a:gd name="adj" fmla="val 32849"/>
              </a:avLst>
            </a:prstGeom>
            <a:solidFill>
              <a:srgbClr val="C3D5C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11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Сквер им. Толстого; </a:t>
              </a:r>
            </a:p>
            <a:p>
              <a:pPr indent="-398463" algn="ctr">
                <a:lnSpc>
                  <a:spcPts val="1400"/>
                </a:lnSpc>
                <a:defRPr/>
              </a:pPr>
              <a:r>
                <a:rPr lang="ru-RU" sz="11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сквер «Лазаревский»</a:t>
              </a:r>
              <a:endPara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>
              <a:off x="2180174" y="4484974"/>
              <a:ext cx="2695495" cy="448067"/>
            </a:xfrm>
            <a:prstGeom prst="roundRect">
              <a:avLst>
                <a:gd name="adj" fmla="val 32849"/>
              </a:avLst>
            </a:prstGeom>
            <a:solidFill>
              <a:srgbClr val="C3D5C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11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Парк «Емануелевский»</a:t>
              </a:r>
              <a:endPara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40" name="Скругленный прямоугольник 39"/>
            <p:cNvSpPr/>
            <p:nvPr/>
          </p:nvSpPr>
          <p:spPr>
            <a:xfrm>
              <a:off x="2160989" y="4986326"/>
              <a:ext cx="2695495" cy="448067"/>
            </a:xfrm>
            <a:prstGeom prst="roundRect">
              <a:avLst>
                <a:gd name="adj" fmla="val 32849"/>
              </a:avLst>
            </a:prstGeom>
            <a:solidFill>
              <a:srgbClr val="C3D5C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11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Парк «Нагорный»; Грот «Дианы»</a:t>
              </a:r>
              <a:endPara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2158164" y="5459285"/>
              <a:ext cx="2717505" cy="448067"/>
            </a:xfrm>
            <a:prstGeom prst="roundRect">
              <a:avLst>
                <a:gd name="adj" fmla="val 32849"/>
              </a:avLst>
            </a:prstGeom>
            <a:solidFill>
              <a:srgbClr val="C3D5C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11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Комсомольский парк</a:t>
              </a:r>
              <a:endPara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42" name="Скругленный прямоугольник 41"/>
            <p:cNvSpPr/>
            <p:nvPr/>
          </p:nvSpPr>
          <p:spPr>
            <a:xfrm>
              <a:off x="4975727" y="3870207"/>
              <a:ext cx="2451616" cy="562103"/>
            </a:xfrm>
            <a:prstGeom prst="roundRect">
              <a:avLst>
                <a:gd name="adj" fmla="val 32849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Поющий </a:t>
              </a:r>
              <a:r>
                <a:rPr lang="ru-RU" sz="11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фонтан с прилегающим сквером, обустройство тротуаров в курортной зоне</a:t>
              </a:r>
              <a:endPara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43" name="Скругленный прямоугольник 42"/>
            <p:cNvSpPr/>
            <p:nvPr/>
          </p:nvSpPr>
          <p:spPr>
            <a:xfrm>
              <a:off x="4975727" y="4509176"/>
              <a:ext cx="2451616" cy="438609"/>
            </a:xfrm>
            <a:prstGeom prst="roundRect">
              <a:avLst>
                <a:gd name="adj" fmla="val 32849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С</a:t>
              </a:r>
              <a:r>
                <a:rPr lang="ru-RU" sz="11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квер 4-7 источник, парк «Цветник» (автополив)</a:t>
              </a:r>
              <a:endPara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44" name="Скругленный прямоугольник 43"/>
            <p:cNvSpPr/>
            <p:nvPr/>
          </p:nvSpPr>
          <p:spPr>
            <a:xfrm>
              <a:off x="4975727" y="5001954"/>
              <a:ext cx="2451616" cy="438609"/>
            </a:xfrm>
            <a:prstGeom prst="roundRect">
              <a:avLst>
                <a:gd name="adj" fmla="val 32849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11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Парк «Цветник»</a:t>
              </a:r>
              <a:endPara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</p:grpSp>
      <p:pic>
        <p:nvPicPr>
          <p:cNvPr id="56" name="Picture 2" descr="https://st4.depositphotos.com/16038092/23360/v/950/depositphotos_233608424-stock-illustration-spring-park-public-park-city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5803" y="1698934"/>
            <a:ext cx="3049185" cy="156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" descr="https://st4.depositphotos.com/16038092/23360/v/950/depositphotos_233608424-stock-illustration-spring-park-public-park-city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6618" y="1698934"/>
            <a:ext cx="3049185" cy="156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7520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Группа 44"/>
          <p:cNvGrpSpPr/>
          <p:nvPr/>
        </p:nvGrpSpPr>
        <p:grpSpPr>
          <a:xfrm rot="5400000">
            <a:off x="6902656" y="426500"/>
            <a:ext cx="578693" cy="3696959"/>
            <a:chOff x="4714082" y="4501364"/>
            <a:chExt cx="1167405" cy="928694"/>
          </a:xfrm>
        </p:grpSpPr>
        <p:cxnSp>
          <p:nvCxnSpPr>
            <p:cNvPr id="40" name="Прямая соединительная линия 39"/>
            <p:cNvCxnSpPr/>
            <p:nvPr/>
          </p:nvCxnSpPr>
          <p:spPr>
            <a:xfrm>
              <a:off x="4714876" y="5429264"/>
              <a:ext cx="1166611" cy="0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Прямая соединительная линия 40"/>
            <p:cNvCxnSpPr/>
            <p:nvPr/>
          </p:nvCxnSpPr>
          <p:spPr>
            <a:xfrm rot="5400000">
              <a:off x="4250529" y="4964917"/>
              <a:ext cx="928694" cy="1588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Группа 44"/>
          <p:cNvGrpSpPr/>
          <p:nvPr/>
        </p:nvGrpSpPr>
        <p:grpSpPr>
          <a:xfrm rot="5400000">
            <a:off x="6649138" y="-320525"/>
            <a:ext cx="579480" cy="4197570"/>
            <a:chOff x="4712493" y="4481675"/>
            <a:chExt cx="1168994" cy="947589"/>
          </a:xfrm>
        </p:grpSpPr>
        <p:cxnSp>
          <p:nvCxnSpPr>
            <p:cNvPr id="31" name="Прямая соединительная линия 30"/>
            <p:cNvCxnSpPr/>
            <p:nvPr/>
          </p:nvCxnSpPr>
          <p:spPr>
            <a:xfrm>
              <a:off x="4714876" y="5429264"/>
              <a:ext cx="1166611" cy="0"/>
            </a:xfrm>
            <a:prstGeom prst="line">
              <a:avLst/>
            </a:prstGeom>
            <a:ln w="50800" cap="rnd">
              <a:solidFill>
                <a:srgbClr val="C0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единительная линия 31"/>
            <p:cNvCxnSpPr/>
            <p:nvPr/>
          </p:nvCxnSpPr>
          <p:spPr>
            <a:xfrm rot="5400000">
              <a:off x="4248940" y="4945228"/>
              <a:ext cx="928694" cy="1588"/>
            </a:xfrm>
            <a:prstGeom prst="line">
              <a:avLst/>
            </a:prstGeom>
            <a:ln w="50800" cap="rnd">
              <a:solidFill>
                <a:srgbClr val="C0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:p14="http://schemas.microsoft.com/office/powerpoint/2010/main" val="3881532455"/>
              </p:ext>
            </p:extLst>
          </p:nvPr>
        </p:nvGraphicFramePr>
        <p:xfrm>
          <a:off x="1714908" y="1684737"/>
          <a:ext cx="5190317" cy="3560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895350" cy="1119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809459" y="3139696"/>
            <a:ext cx="1447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225,2</a:t>
            </a:r>
            <a:endParaRPr lang="ru-RU" sz="32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grpSp>
        <p:nvGrpSpPr>
          <p:cNvPr id="8" name="Группа 35"/>
          <p:cNvGrpSpPr/>
          <p:nvPr/>
        </p:nvGrpSpPr>
        <p:grpSpPr>
          <a:xfrm>
            <a:off x="1" y="1212870"/>
            <a:ext cx="2841451" cy="1114103"/>
            <a:chOff x="3425205" y="1278285"/>
            <a:chExt cx="2448272" cy="742268"/>
          </a:xfrm>
        </p:grpSpPr>
        <p:sp>
          <p:nvSpPr>
            <p:cNvPr id="9" name="Скругленный прямоугольник 8"/>
            <p:cNvSpPr/>
            <p:nvPr>
              <p:custDataLst>
                <p:tags r:id="rId8"/>
              </p:custDataLst>
            </p:nvPr>
          </p:nvSpPr>
          <p:spPr>
            <a:xfrm>
              <a:off x="3930051" y="1745832"/>
              <a:ext cx="1438578" cy="274721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3,00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0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1600" dirty="0" smtClean="0">
                  <a:latin typeface="+mj-lt"/>
                </a:rPr>
                <a:t>Приобретение </a:t>
              </a:r>
              <a:r>
                <a:rPr lang="ru-RU" sz="1400" dirty="0" smtClean="0">
                  <a:latin typeface="+mj-lt"/>
                </a:rPr>
                <a:t>земельного</a:t>
              </a:r>
              <a:r>
                <a:rPr lang="ru-RU" sz="1600" dirty="0" smtClean="0">
                  <a:latin typeface="+mj-lt"/>
                </a:rPr>
                <a:t> участка, для размещения кладбища</a:t>
              </a:r>
            </a:p>
          </p:txBody>
        </p:sp>
      </p:grpSp>
      <p:grpSp>
        <p:nvGrpSpPr>
          <p:cNvPr id="11" name="Группа 35"/>
          <p:cNvGrpSpPr/>
          <p:nvPr/>
        </p:nvGrpSpPr>
        <p:grpSpPr>
          <a:xfrm>
            <a:off x="6049271" y="2285949"/>
            <a:ext cx="2732420" cy="1288428"/>
            <a:chOff x="3454285" y="843312"/>
            <a:chExt cx="2448272" cy="1098931"/>
          </a:xfrm>
        </p:grpSpPr>
        <p:sp>
          <p:nvSpPr>
            <p:cNvPr id="12" name="Скругленный прямоугольник 11"/>
            <p:cNvSpPr/>
            <p:nvPr>
              <p:custDataLst>
                <p:tags r:id="rId7"/>
              </p:custDataLst>
            </p:nvPr>
          </p:nvSpPr>
          <p:spPr>
            <a:xfrm>
              <a:off x="3959352" y="1607457"/>
              <a:ext cx="1317316" cy="334786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7,00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3" name="AutoShape 32"/>
            <p:cNvSpPr>
              <a:spLocks noChangeArrowheads="1"/>
            </p:cNvSpPr>
            <p:nvPr/>
          </p:nvSpPr>
          <p:spPr bwMode="auto">
            <a:xfrm>
              <a:off x="3454285" y="843312"/>
              <a:ext cx="2448272" cy="78501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1600" dirty="0" smtClean="0">
                  <a:latin typeface="+mj-lt"/>
                </a:rPr>
                <a:t>ПСД на строительство детского сада 5-6 микрорайон</a:t>
              </a:r>
            </a:p>
          </p:txBody>
        </p:sp>
      </p:grpSp>
      <p:grpSp>
        <p:nvGrpSpPr>
          <p:cNvPr id="14" name="Группа 35"/>
          <p:cNvGrpSpPr/>
          <p:nvPr/>
        </p:nvGrpSpPr>
        <p:grpSpPr>
          <a:xfrm>
            <a:off x="-1" y="2564326"/>
            <a:ext cx="2855545" cy="1146512"/>
            <a:chOff x="3425205" y="1278285"/>
            <a:chExt cx="2448272" cy="694790"/>
          </a:xfrm>
        </p:grpSpPr>
        <p:sp>
          <p:nvSpPr>
            <p:cNvPr id="15" name="Скругленный прямоугольник 14"/>
            <p:cNvSpPr/>
            <p:nvPr>
              <p:custDataLst>
                <p:tags r:id="rId6"/>
              </p:custDataLst>
            </p:nvPr>
          </p:nvSpPr>
          <p:spPr>
            <a:xfrm>
              <a:off x="3915894" y="1717702"/>
              <a:ext cx="1400012" cy="25537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26,2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6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1600" dirty="0" smtClean="0">
                  <a:latin typeface="+mj-lt"/>
                </a:rPr>
                <a:t>Строительство подъездной дороги к МКД пер.Малиновского</a:t>
              </a:r>
            </a:p>
          </p:txBody>
        </p:sp>
      </p:grpSp>
      <p:grpSp>
        <p:nvGrpSpPr>
          <p:cNvPr id="17" name="Группа 35"/>
          <p:cNvGrpSpPr/>
          <p:nvPr/>
        </p:nvGrpSpPr>
        <p:grpSpPr>
          <a:xfrm>
            <a:off x="2842914" y="5205010"/>
            <a:ext cx="2951042" cy="1408647"/>
            <a:chOff x="3425205" y="1144204"/>
            <a:chExt cx="2448272" cy="864769"/>
          </a:xfrm>
        </p:grpSpPr>
        <p:sp>
          <p:nvSpPr>
            <p:cNvPr id="18" name="Скругленный прямоугольник 17"/>
            <p:cNvSpPr/>
            <p:nvPr>
              <p:custDataLst>
                <p:tags r:id="rId5"/>
              </p:custDataLst>
            </p:nvPr>
          </p:nvSpPr>
          <p:spPr>
            <a:xfrm>
              <a:off x="4071976" y="1769119"/>
              <a:ext cx="1154729" cy="239854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25,4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9" name="AutoShape 32"/>
            <p:cNvSpPr>
              <a:spLocks noChangeArrowheads="1"/>
            </p:cNvSpPr>
            <p:nvPr/>
          </p:nvSpPr>
          <p:spPr bwMode="auto">
            <a:xfrm>
              <a:off x="3425205" y="1144204"/>
              <a:ext cx="2448272" cy="601629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lvl="0" algn="ctr">
                <a:lnSpc>
                  <a:spcPts val="1600"/>
                </a:lnSpc>
              </a:pPr>
              <a:r>
                <a:rPr lang="ru-RU" sz="1600" dirty="0" smtClean="0">
                  <a:latin typeface="+mj-lt"/>
                </a:rPr>
                <a:t>Строительство жилого дома в целях переселения из аварийного жилого фонда</a:t>
              </a:r>
            </a:p>
          </p:txBody>
        </p:sp>
      </p:grpSp>
      <p:grpSp>
        <p:nvGrpSpPr>
          <p:cNvPr id="20" name="Группа 35"/>
          <p:cNvGrpSpPr/>
          <p:nvPr/>
        </p:nvGrpSpPr>
        <p:grpSpPr>
          <a:xfrm>
            <a:off x="21767" y="3855475"/>
            <a:ext cx="2717322" cy="1443853"/>
            <a:chOff x="3425205" y="1041626"/>
            <a:chExt cx="2448272" cy="932672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4"/>
              </p:custDataLst>
            </p:nvPr>
          </p:nvSpPr>
          <p:spPr>
            <a:xfrm>
              <a:off x="3938469" y="1708470"/>
              <a:ext cx="1388353" cy="265828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58,3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2" name="AutoShape 32"/>
            <p:cNvSpPr>
              <a:spLocks noChangeArrowheads="1"/>
            </p:cNvSpPr>
            <p:nvPr/>
          </p:nvSpPr>
          <p:spPr bwMode="auto">
            <a:xfrm>
              <a:off x="3425205" y="1041626"/>
              <a:ext cx="2448272" cy="70420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  <a:defRPr/>
              </a:pPr>
              <a:r>
                <a:rPr lang="ru-RU" sz="1600" dirty="0" smtClean="0">
                  <a:latin typeface="+mj-lt"/>
                </a:rPr>
                <a:t>Реконструкция поля стадиона «Центральный»</a:t>
              </a: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1505687" y="490734"/>
            <a:ext cx="6668813" cy="4428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46088" indent="-446088" algn="ctr">
              <a:lnSpc>
                <a:spcPct val="80000"/>
              </a:lnSpc>
              <a:defRPr/>
            </a:pPr>
            <a:r>
              <a:rPr lang="ru-RU" sz="28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rPr>
              <a:t>Бюджетные инвестиции в 2021 году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130738" y="1119188"/>
            <a:ext cx="364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Средства местного бюджета</a:t>
            </a:r>
            <a:endParaRPr lang="ru-RU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130738" y="1617089"/>
            <a:ext cx="4122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редства вышестоящих бюджетов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6" name="Группа 35"/>
          <p:cNvGrpSpPr/>
          <p:nvPr/>
        </p:nvGrpSpPr>
        <p:grpSpPr>
          <a:xfrm>
            <a:off x="198714" y="5699423"/>
            <a:ext cx="2428541" cy="908590"/>
            <a:chOff x="3425205" y="1936312"/>
            <a:chExt cx="2448272" cy="929320"/>
          </a:xfrm>
        </p:grpSpPr>
        <p:sp>
          <p:nvSpPr>
            <p:cNvPr id="37" name="Скругленный прямоугольник 36"/>
            <p:cNvSpPr/>
            <p:nvPr>
              <p:custDataLst>
                <p:tags r:id="rId3"/>
              </p:custDataLst>
            </p:nvPr>
          </p:nvSpPr>
          <p:spPr>
            <a:xfrm>
              <a:off x="3814428" y="2468037"/>
              <a:ext cx="1530653" cy="397595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0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7</a:t>
              </a:r>
              <a:endParaRPr lang="ru-RU" sz="20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38" name="AutoShape 32"/>
            <p:cNvSpPr>
              <a:spLocks noChangeArrowheads="1"/>
            </p:cNvSpPr>
            <p:nvPr/>
          </p:nvSpPr>
          <p:spPr bwMode="auto">
            <a:xfrm>
              <a:off x="3425205" y="1936312"/>
              <a:ext cx="2448272" cy="531725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1600" dirty="0" smtClean="0">
                  <a:latin typeface="+mj-lt"/>
                </a:rPr>
                <a:t>Оборудование уличного освещения</a:t>
              </a:r>
            </a:p>
          </p:txBody>
        </p:sp>
      </p:grpSp>
      <p:grpSp>
        <p:nvGrpSpPr>
          <p:cNvPr id="42" name="Группа 41"/>
          <p:cNvGrpSpPr/>
          <p:nvPr/>
        </p:nvGrpSpPr>
        <p:grpSpPr>
          <a:xfrm>
            <a:off x="6044698" y="5213637"/>
            <a:ext cx="2922199" cy="1341805"/>
            <a:chOff x="3450283" y="1779324"/>
            <a:chExt cx="2448272" cy="999182"/>
          </a:xfrm>
        </p:grpSpPr>
        <p:sp>
          <p:nvSpPr>
            <p:cNvPr id="43" name="Скругленный прямоугольник 42"/>
            <p:cNvSpPr/>
            <p:nvPr>
              <p:custDataLst>
                <p:tags r:id="rId2"/>
              </p:custDataLst>
            </p:nvPr>
          </p:nvSpPr>
          <p:spPr>
            <a:xfrm>
              <a:off x="3995959" y="2440213"/>
              <a:ext cx="1151983" cy="33829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0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2,8</a:t>
              </a:r>
              <a:endParaRPr lang="ru-RU" sz="20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44" name="AutoShape 32"/>
            <p:cNvSpPr>
              <a:spLocks noChangeArrowheads="1"/>
            </p:cNvSpPr>
            <p:nvPr/>
          </p:nvSpPr>
          <p:spPr bwMode="auto">
            <a:xfrm>
              <a:off x="3450283" y="1779324"/>
              <a:ext cx="2448272" cy="620912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1200" dirty="0">
                  <a:latin typeface="+mj-lt"/>
                </a:rPr>
                <a:t>Планировка территории  для размещения образовательного центра и строительства жилых домов для многодетных семей</a:t>
              </a:r>
              <a:endParaRPr lang="ru-RU" sz="1200" dirty="0" smtClean="0">
                <a:latin typeface="+mj-lt"/>
              </a:endParaRPr>
            </a:p>
          </p:txBody>
        </p:sp>
      </p:grpSp>
      <p:grpSp>
        <p:nvGrpSpPr>
          <p:cNvPr id="45" name="Группа 44"/>
          <p:cNvGrpSpPr/>
          <p:nvPr/>
        </p:nvGrpSpPr>
        <p:grpSpPr>
          <a:xfrm>
            <a:off x="6075068" y="3761117"/>
            <a:ext cx="2893583" cy="1319842"/>
            <a:chOff x="3425205" y="1936312"/>
            <a:chExt cx="2448272" cy="831497"/>
          </a:xfrm>
        </p:grpSpPr>
        <p:sp>
          <p:nvSpPr>
            <p:cNvPr id="46" name="Скругленный прямоугольник 45"/>
            <p:cNvSpPr/>
            <p:nvPr>
              <p:custDataLst>
                <p:tags r:id="rId1"/>
              </p:custDataLst>
            </p:nvPr>
          </p:nvSpPr>
          <p:spPr>
            <a:xfrm>
              <a:off x="3829333" y="2490643"/>
              <a:ext cx="1530653" cy="277166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0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,8</a:t>
              </a:r>
              <a:endParaRPr lang="ru-RU" sz="20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47" name="AutoShape 32"/>
            <p:cNvSpPr>
              <a:spLocks noChangeArrowheads="1"/>
            </p:cNvSpPr>
            <p:nvPr/>
          </p:nvSpPr>
          <p:spPr bwMode="auto">
            <a:xfrm>
              <a:off x="3425205" y="1936312"/>
              <a:ext cx="2448272" cy="531725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1600" dirty="0">
                  <a:latin typeface="+mj-lt"/>
                </a:rPr>
                <a:t>Планировка территории  для размещения ФОК и размещения образовательного центра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366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3714383083"/>
              </p:ext>
            </p:extLst>
          </p:nvPr>
        </p:nvGraphicFramePr>
        <p:xfrm>
          <a:off x="2924175" y="3554651"/>
          <a:ext cx="5981700" cy="2404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 bwMode="auto">
          <a:xfrm>
            <a:off x="180975" y="167410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446088" indent="-446088" eaLnBrk="1" hangingPunct="1">
              <a:lnSpc>
                <a:spcPct val="80000"/>
              </a:lnSpc>
              <a:defRPr/>
            </a:pPr>
            <a:r>
              <a:rPr lang="ru-RU" sz="28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Долговая нагрузка бюджета</a:t>
            </a:r>
          </a:p>
          <a:p>
            <a:pPr marL="446088" indent="-446088" eaLnBrk="1" hangingPunct="1">
              <a:lnSpc>
                <a:spcPct val="80000"/>
              </a:lnSpc>
              <a:defRPr/>
            </a:pPr>
            <a:r>
              <a:rPr lang="ru-RU" sz="28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города-курорта Пятигорска</a:t>
            </a:r>
            <a:endParaRPr lang="ru-RU" sz="2800" b="1" kern="0" dirty="0"/>
          </a:p>
        </p:txBody>
      </p:sp>
      <p:sp>
        <p:nvSpPr>
          <p:cNvPr id="13" name="TextBox 10"/>
          <p:cNvSpPr txBox="1"/>
          <p:nvPr/>
        </p:nvSpPr>
        <p:spPr>
          <a:xfrm rot="10800000" flipV="1">
            <a:off x="7789546" y="3837407"/>
            <a:ext cx="7924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</a:rPr>
              <a:t>77,9</a:t>
            </a: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</a:rPr>
              <a:t>%</a:t>
            </a:r>
            <a:endParaRPr lang="ru-RU" sz="1600" b="1" dirty="0">
              <a:solidFill>
                <a:schemeClr val="tx1">
                  <a:lumMod val="95000"/>
                  <a:lumOff val="5000"/>
                </a:schemeClr>
              </a:solidFill>
              <a:latin typeface="Arial"/>
            </a:endParaRPr>
          </a:p>
        </p:txBody>
      </p:sp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val="462145187"/>
              </p:ext>
            </p:extLst>
          </p:nvPr>
        </p:nvGraphicFramePr>
        <p:xfrm>
          <a:off x="-114300" y="7715144"/>
          <a:ext cx="9039225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361587" y="3938771"/>
            <a:ext cx="2524487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00" b="1" dirty="0">
                <a:latin typeface="Arial Cyr" panose="020B0604020202020204" pitchFamily="34" charset="0"/>
                <a:cs typeface="Arial Cyr" panose="020B0604020202020204" pitchFamily="34" charset="0"/>
              </a:rPr>
              <a:t>О</a:t>
            </a:r>
            <a:r>
              <a:rPr lang="ru-RU" sz="1700" b="1" dirty="0" smtClean="0">
                <a:latin typeface="Arial Cyr" panose="020B0604020202020204" pitchFamily="34" charset="0"/>
                <a:cs typeface="Arial Cyr" panose="020B0604020202020204" pitchFamily="34" charset="0"/>
              </a:rPr>
              <a:t>тношение объема муниципального долга к собственным доходам  бюджета  (%)</a:t>
            </a:r>
            <a:endParaRPr lang="ru-RU" sz="1700" b="1" dirty="0"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66338" y="2011699"/>
            <a:ext cx="2257787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00" b="1" dirty="0" smtClean="0">
                <a:latin typeface="Arial Cyr" panose="020B0604020202020204" pitchFamily="34" charset="0"/>
                <a:cs typeface="Arial Cyr" panose="020B0604020202020204" pitchFamily="34" charset="0"/>
              </a:rPr>
              <a:t>Муниципальный долг  (млн. руб.) </a:t>
            </a:r>
            <a:endParaRPr lang="ru-RU" sz="1700" b="1" dirty="0"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graphicFrame>
        <p:nvGraphicFramePr>
          <p:cNvPr id="17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02229435"/>
              </p:ext>
            </p:extLst>
          </p:nvPr>
        </p:nvGraphicFramePr>
        <p:xfrm>
          <a:off x="2156604" y="1310410"/>
          <a:ext cx="6987396" cy="2278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7573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 bwMode="auto">
          <a:xfrm>
            <a:off x="1207698" y="203354"/>
            <a:ext cx="7936302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446088" indent="-446088" eaLnBrk="1" hangingPunct="1">
              <a:lnSpc>
                <a:spcPct val="80000"/>
              </a:lnSpc>
              <a:defRPr/>
            </a:pPr>
            <a:r>
              <a:rPr lang="ru-RU" sz="28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Расходы на обслуживание муниципального долга </a:t>
            </a:r>
          </a:p>
          <a:p>
            <a:pPr marL="446088" indent="-446088" eaLnBrk="1" hangingPunct="1">
              <a:lnSpc>
                <a:spcPct val="80000"/>
              </a:lnSpc>
              <a:defRPr/>
            </a:pPr>
            <a:r>
              <a:rPr lang="ru-RU" sz="28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рода-курорта Пятигорска</a:t>
            </a:r>
            <a:endParaRPr lang="ru-RU" sz="2800" b="1" kern="0" dirty="0"/>
          </a:p>
        </p:txBody>
      </p:sp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val="3306557967"/>
              </p:ext>
            </p:extLst>
          </p:nvPr>
        </p:nvGraphicFramePr>
        <p:xfrm>
          <a:off x="-114300" y="7715144"/>
          <a:ext cx="9039225" cy="169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361587" y="3938771"/>
            <a:ext cx="2524487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00" b="1" dirty="0" smtClean="0">
                <a:latin typeface="Arial Cyr" panose="020B0604020202020204" pitchFamily="34" charset="0"/>
                <a:cs typeface="Arial Cyr" panose="020B0604020202020204" pitchFamily="34" charset="0"/>
              </a:rPr>
              <a:t>Доля расходов на обслуживание муниципального долга в общем объеме расходов (без субвенций), (%)</a:t>
            </a:r>
            <a:endParaRPr lang="ru-RU" sz="1700" b="1" dirty="0"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66338" y="2011699"/>
            <a:ext cx="225778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00" b="1" dirty="0" smtClean="0">
                <a:latin typeface="Arial Cyr" panose="020B0604020202020204" pitchFamily="34" charset="0"/>
                <a:cs typeface="Arial Cyr" panose="020B0604020202020204" pitchFamily="34" charset="0"/>
              </a:rPr>
              <a:t>Расходы на обслуживание муниципального долга (млн. руб.) </a:t>
            </a:r>
            <a:endParaRPr lang="ru-RU" sz="1700" b="1" dirty="0"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graphicFrame>
        <p:nvGraphicFramePr>
          <p:cNvPr id="17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511495"/>
              </p:ext>
            </p:extLst>
          </p:nvPr>
        </p:nvGraphicFramePr>
        <p:xfrm>
          <a:off x="2705100" y="1310410"/>
          <a:ext cx="6126976" cy="2278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6728304"/>
              </p:ext>
            </p:extLst>
          </p:nvPr>
        </p:nvGraphicFramePr>
        <p:xfrm>
          <a:off x="2800350" y="3470078"/>
          <a:ext cx="6126976" cy="2278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3162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82687" cy="1474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314036" y="1697399"/>
            <a:ext cx="8640960" cy="2952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0" cap="none" spc="0" normalizeH="0" baseline="0" noProof="0" dirty="0" smtClean="0">
                <a:ln w="11430"/>
                <a:solidFill>
                  <a:srgbClr val="333399"/>
                </a:solidFill>
                <a:effectLst>
                  <a:glow rad="1905000">
                    <a:srgbClr val="DAEDEF">
                      <a:satMod val="175000"/>
                      <a:alpha val="40000"/>
                    </a:srgb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itchFamily="18" charset="0"/>
                <a:cs typeface="Times New Roman" pitchFamily="18" charset="0"/>
              </a:rPr>
              <a:t>Спасибо за внимание!</a:t>
            </a:r>
            <a:endParaRPr kumimoji="0" lang="en-US" sz="3400" b="1" i="0" u="none" strike="noStrike" kern="0" cap="none" spc="0" normalizeH="0" baseline="0" noProof="0" dirty="0">
              <a:ln w="11430"/>
              <a:solidFill>
                <a:srgbClr val="333399"/>
              </a:solidFill>
              <a:effectLst>
                <a:glow rad="1905000">
                  <a:srgbClr val="DAEDEF">
                    <a:satMod val="175000"/>
                    <a:alpha val="40000"/>
                  </a:srgb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14036" y="5776753"/>
            <a:ext cx="63530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ru-RU" b="1" dirty="0">
                <a:solidFill>
                  <a:srgbClr val="000099"/>
                </a:solidFill>
                <a:latin typeface="Arial" pitchFamily="34" charset="0"/>
              </a:rPr>
              <a:t>Докладчик </a:t>
            </a:r>
            <a:r>
              <a:rPr lang="ru-RU" dirty="0" smtClean="0">
                <a:solidFill>
                  <a:srgbClr val="000099"/>
                </a:solidFill>
                <a:latin typeface="Arial" pitchFamily="34" charset="0"/>
              </a:rPr>
              <a:t>Карпова Виктория Владимировна,</a:t>
            </a:r>
            <a:endParaRPr lang="ru-RU" dirty="0">
              <a:solidFill>
                <a:srgbClr val="000099"/>
              </a:solidFill>
              <a:latin typeface="Arial" pitchFamily="34" charset="0"/>
            </a:endParaRPr>
          </a:p>
          <a:p>
            <a:pPr eaLnBrk="0" hangingPunct="0">
              <a:defRPr/>
            </a:pPr>
            <a:r>
              <a:rPr lang="ru-RU" dirty="0" smtClean="0">
                <a:solidFill>
                  <a:srgbClr val="000099"/>
                </a:solidFill>
                <a:latin typeface="Arial" pitchFamily="34" charset="0"/>
              </a:rPr>
              <a:t>Заместитель главы администрации города Пятигорска</a:t>
            </a:r>
            <a:endParaRPr lang="ru-RU" dirty="0">
              <a:solidFill>
                <a:srgbClr val="000099"/>
              </a:solidFill>
              <a:latin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525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28724" y="274638"/>
            <a:ext cx="7458075" cy="992187"/>
          </a:xfrm>
        </p:spPr>
        <p:txBody>
          <a:bodyPr/>
          <a:lstStyle/>
          <a:p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Прогноз социально-экономического развития города-курорта Пятигорска</a:t>
            </a:r>
          </a:p>
        </p:txBody>
      </p: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2231656"/>
              </p:ext>
            </p:extLst>
          </p:nvPr>
        </p:nvGraphicFramePr>
        <p:xfrm>
          <a:off x="200024" y="2730500"/>
          <a:ext cx="2381251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1251"/>
              </a:tblGrid>
              <a:tr h="2692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9     </a:t>
                      </a:r>
                      <a:r>
                        <a:rPr lang="ru-RU" sz="16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        </a:t>
                      </a:r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14,30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2692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0                   214,28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692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1                   214,28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692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2                   214,31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6924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ru-RU" sz="1600" dirty="0" smtClean="0"/>
                        <a:t>2023                   214,36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80975" y="2047876"/>
            <a:ext cx="25050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accent5">
                    <a:lumMod val="10000"/>
                  </a:schemeClr>
                </a:solidFill>
                <a:latin typeface="Arial"/>
              </a:rPr>
              <a:t>Численность населения (среднегодовая)</a:t>
            </a:r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, тыс. чел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724150" y="1971675"/>
            <a:ext cx="32765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Среднесписочная численность работающих (по крупным и средним предприятиям), тыс. чел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0859012"/>
              </p:ext>
            </p:extLst>
          </p:nvPr>
        </p:nvGraphicFramePr>
        <p:xfrm>
          <a:off x="3219450" y="2730500"/>
          <a:ext cx="2314576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4576"/>
              </a:tblGrid>
              <a:tr h="24257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9     </a:t>
                      </a:r>
                      <a:r>
                        <a:rPr lang="ru-RU" sz="16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         </a:t>
                      </a:r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7,11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24257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0                    37,21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4257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1                    37,24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4257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2                    37,26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4257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3                    37,29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972175" y="1975598"/>
            <a:ext cx="31718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Численность работающих (по субъектам малого предпринимательства), тыс. чел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6256997"/>
              </p:ext>
            </p:extLst>
          </p:nvPr>
        </p:nvGraphicFramePr>
        <p:xfrm>
          <a:off x="6153150" y="2749550"/>
          <a:ext cx="2447926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7926"/>
              </a:tblGrid>
              <a:tr h="2711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9                      31,82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2711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0                      31,27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711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1                      31,45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711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2                      32,02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711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3                      32,45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142874" y="4552950"/>
            <a:ext cx="26574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Индекс потребительских цен, % к предыдущему году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8334766"/>
              </p:ext>
            </p:extLst>
          </p:nvPr>
        </p:nvGraphicFramePr>
        <p:xfrm>
          <a:off x="190500" y="5143500"/>
          <a:ext cx="2438400" cy="1714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8400"/>
              </a:tblGrid>
              <a:tr h="3429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9                      104,6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3429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0                      103,5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3429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1                      103,8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3429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2                      104,0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3429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3                      104,1</a:t>
                      </a:r>
                      <a:endParaRPr lang="ru-RU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2857500" y="4457700"/>
            <a:ext cx="33051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Объем инвестиций в основной капитал по крупным и средним организациям, млн. руб.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0748757"/>
              </p:ext>
            </p:extLst>
          </p:nvPr>
        </p:nvGraphicFramePr>
        <p:xfrm>
          <a:off x="3219449" y="5181600"/>
          <a:ext cx="2295525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5525"/>
              </a:tblGrid>
              <a:tr h="2698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9                  4374,8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0                  4116,2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1                  4256,6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2                  4496,5</a:t>
                      </a:r>
                      <a:endParaRPr lang="ru-RU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3                  4848,9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5943600" y="4581525"/>
            <a:ext cx="3200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Ввод в эксплуатацию общей площади жилых домов, тыс. кв.м</a:t>
            </a: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1191290"/>
              </p:ext>
            </p:extLst>
          </p:nvPr>
        </p:nvGraphicFramePr>
        <p:xfrm>
          <a:off x="6162675" y="5181600"/>
          <a:ext cx="2524126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4126"/>
              </a:tblGrid>
              <a:tr h="275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9                          61,8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275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0                          62,0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75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1                          62,5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75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2                          63,0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75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3                          63,7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266700" y="1552575"/>
            <a:ext cx="895350" cy="40957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095375" y="1581150"/>
            <a:ext cx="16573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1266825" y="1590675"/>
            <a:ext cx="1447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факт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409825" y="1552575"/>
            <a:ext cx="895350" cy="40957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3400425" y="1609725"/>
            <a:ext cx="1447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оценка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4695825" y="1543050"/>
            <a:ext cx="895350" cy="409575"/>
          </a:xfrm>
          <a:prstGeom prst="rect">
            <a:avLst/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5762625" y="1619250"/>
            <a:ext cx="1447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прогноз</a:t>
            </a:r>
          </a:p>
        </p:txBody>
      </p:sp>
    </p:spTree>
    <p:extLst>
      <p:ext uri="{BB962C8B-B14F-4D97-AF65-F5344CB8AC3E}">
        <p14:creationId xmlns:p14="http://schemas.microsoft.com/office/powerpoint/2010/main" val="3259343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>
            <a:spLocks noChangeArrowheads="1"/>
          </p:cNvSpPr>
          <p:nvPr/>
        </p:nvSpPr>
        <p:spPr bwMode="auto">
          <a:xfrm>
            <a:off x="8124825" y="1283643"/>
            <a:ext cx="10191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0687376"/>
              </p:ext>
            </p:extLst>
          </p:nvPr>
        </p:nvGraphicFramePr>
        <p:xfrm>
          <a:off x="1" y="1361512"/>
          <a:ext cx="9144000" cy="5498072"/>
        </p:xfrm>
        <a:graphic>
          <a:graphicData uri="http://schemas.openxmlformats.org/drawingml/2006/table">
            <a:tbl>
              <a:tblPr firstRow="1" bandRow="1"/>
              <a:tblGrid>
                <a:gridCol w="4439068"/>
                <a:gridCol w="1248740"/>
                <a:gridCol w="1248740"/>
                <a:gridCol w="1135951"/>
                <a:gridCol w="1071501"/>
              </a:tblGrid>
              <a:tr h="986638">
                <a:tc rowSpan="2"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Наименование показателя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b="1" kern="120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020</a:t>
                      </a:r>
                      <a:endParaRPr kumimoji="0" lang="ru-RU" b="1" kern="120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2021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2022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</a:t>
                      </a:r>
                    </a:p>
                    <a:p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lumMod val="75000"/>
                      </a:srgbClr>
                    </a:solidFill>
                  </a:tcPr>
                </a:tc>
              </a:tr>
              <a:tr h="394655">
                <a:tc v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оначальный бюджет</a:t>
                      </a:r>
                      <a:endParaRPr lang="ru-RU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</a:t>
                      </a:r>
                      <a:endParaRPr lang="ru-RU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овый период</a:t>
                      </a:r>
                      <a:endParaRPr lang="ru-RU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8931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b="1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r>
                        <a:rPr lang="ru-RU" sz="2400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ХОДЫ</a:t>
                      </a:r>
                      <a:endParaRPr lang="ru-RU" sz="2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endParaRPr kumimoji="0" lang="ru-RU" b="1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ctr" rtl="0" eaLnBrk="1" latinLnBrk="0" hangingPunct="1"/>
                      <a:r>
                        <a:rPr kumimoji="0" lang="ru-RU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07</a:t>
                      </a:r>
                      <a:endParaRPr kumimoji="0" lang="ru-RU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b="1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31</a:t>
                      </a:r>
                      <a:endParaRPr lang="ru-RU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b="1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60</a:t>
                      </a:r>
                      <a:endParaRPr lang="ru-RU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03</a:t>
                      </a:r>
                      <a:endParaRPr lang="ru-RU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</a:tr>
              <a:tr h="48020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оговые и неналоговые доходы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86</a:t>
                      </a:r>
                      <a:endParaRPr lang="ru-RU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48</a:t>
                      </a:r>
                      <a:endParaRPr lang="ru-RU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93</a:t>
                      </a:r>
                      <a:endParaRPr lang="ru-RU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14</a:t>
                      </a:r>
                      <a:endParaRPr lang="ru-RU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</a:tr>
              <a:tr h="49689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8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возмездные поступления</a:t>
                      </a:r>
                      <a:endParaRPr lang="ru-RU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21</a:t>
                      </a:r>
                      <a:endParaRPr lang="ru-RU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83</a:t>
                      </a:r>
                      <a:endParaRPr lang="ru-RU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67</a:t>
                      </a:r>
                      <a:endParaRPr lang="ru-RU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89</a:t>
                      </a:r>
                      <a:endParaRPr lang="ru-RU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</a:tr>
              <a:tr h="549529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l"/>
                      <a:r>
                        <a:rPr lang="ru-RU" sz="2400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ХОДЫ</a:t>
                      </a:r>
                      <a:endParaRPr lang="ru-RU" sz="2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82</a:t>
                      </a:r>
                      <a:endParaRPr lang="ru-RU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65</a:t>
                      </a:r>
                      <a:endParaRPr lang="ru-RU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30</a:t>
                      </a:r>
                      <a:endParaRPr lang="ru-RU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73</a:t>
                      </a:r>
                      <a:endParaRPr lang="ru-RU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</a:tr>
              <a:tr h="599755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ущие расходы</a:t>
                      </a:r>
                      <a:endParaRPr lang="ru-RU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67</a:t>
                      </a:r>
                      <a:endParaRPr kumimoji="0" lang="ru-RU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kumimoji="0" lang="ru-RU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44</a:t>
                      </a:r>
                      <a:endParaRPr kumimoji="0" lang="ru-RU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algn="ctr" rtl="0" eaLnBrk="1" latinLnBrk="0" hangingPunct="1"/>
                      <a:r>
                        <a:rPr kumimoji="0" lang="ru-RU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32</a:t>
                      </a:r>
                      <a:endParaRPr kumimoji="0" lang="ru-RU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73</a:t>
                      </a:r>
                      <a:endParaRPr kumimoji="0" lang="ru-RU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</a:tr>
              <a:tr h="599755">
                <a:tc>
                  <a:txBody>
                    <a:bodyPr/>
                    <a:lstStyle/>
                    <a:p>
                      <a:r>
                        <a:rPr lang="ru-RU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 расходы</a:t>
                      </a:r>
                      <a:endParaRPr lang="ru-RU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5</a:t>
                      </a:r>
                      <a:endParaRPr kumimoji="0" lang="ru-RU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1</a:t>
                      </a:r>
                      <a:endParaRPr kumimoji="0" lang="ru-RU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8</a:t>
                      </a:r>
                      <a:endParaRPr kumimoji="0" lang="ru-RU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  <a:tr h="599755">
                <a:tc>
                  <a:txBody>
                    <a:bodyPr/>
                    <a:lstStyle/>
                    <a:p>
                      <a:r>
                        <a:rPr lang="ru-RU" sz="2400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ФИЦИТ</a:t>
                      </a:r>
                      <a:endParaRPr lang="ru-RU" sz="24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57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3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70</a:t>
                      </a:r>
                      <a:endParaRPr lang="ru-RU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70</a:t>
                      </a:r>
                      <a:endParaRPr lang="ru-RU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0" name="Заголовок 2"/>
          <p:cNvSpPr>
            <a:spLocks noGrp="1"/>
          </p:cNvSpPr>
          <p:nvPr>
            <p:ph type="title"/>
          </p:nvPr>
        </p:nvSpPr>
        <p:spPr>
          <a:xfrm>
            <a:off x="914400" y="381000"/>
            <a:ext cx="8229600" cy="628650"/>
          </a:xfrm>
        </p:spPr>
        <p:txBody>
          <a:bodyPr>
            <a:noAutofit/>
          </a:bodyPr>
          <a:lstStyle/>
          <a:p>
            <a:pPr marL="446088" lvl="0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Основные параметры проекта бюджета</a:t>
            </a:r>
            <a:endParaRPr lang="ru-RU" sz="2800" b="1" dirty="0">
              <a:latin typeface="+mn-lt"/>
            </a:endParaRPr>
          </a:p>
        </p:txBody>
      </p:sp>
      <p:pic>
        <p:nvPicPr>
          <p:cNvPr id="12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>
            <a:spLocks noChangeArrowheads="1"/>
          </p:cNvSpPr>
          <p:nvPr/>
        </p:nvSpPr>
        <p:spPr bwMode="auto">
          <a:xfrm>
            <a:off x="7871637" y="97415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74826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Группа 46"/>
          <p:cNvGrpSpPr/>
          <p:nvPr/>
        </p:nvGrpSpPr>
        <p:grpSpPr>
          <a:xfrm>
            <a:off x="-442040" y="1"/>
            <a:ext cx="9681471" cy="7189975"/>
            <a:chOff x="-442040" y="1"/>
            <a:chExt cx="9681471" cy="7189975"/>
          </a:xfrm>
        </p:grpSpPr>
        <p:sp>
          <p:nvSpPr>
            <p:cNvPr id="32" name="TextBox 31"/>
            <p:cNvSpPr txBox="1"/>
            <p:nvPr/>
          </p:nvSpPr>
          <p:spPr>
            <a:xfrm>
              <a:off x="1285336" y="334872"/>
              <a:ext cx="7515288" cy="7903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46088" indent="-446088" algn="ctr">
                <a:lnSpc>
                  <a:spcPct val="80000"/>
                </a:lnSpc>
                <a:defRPr/>
              </a:pPr>
              <a:r>
                <a:rPr lang="ru-RU" altLang="ru-RU" sz="2800" b="1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+mn-lt"/>
                  <a:ea typeface="+mj-ea"/>
                  <a:cs typeface="+mj-cs"/>
                </a:rPr>
                <a:t>СТРУКТУРА ДОХОДОВ БЮДЖЕТА ГОРОДА – КУРОРТА ПЯТИГОРСКА</a:t>
              </a:r>
              <a:endParaRPr lang="ru-RU" altLang="ru-RU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j-ea"/>
                <a:cs typeface="+mj-cs"/>
              </a:endParaRPr>
            </a:p>
          </p:txBody>
        </p:sp>
        <p:graphicFrame>
          <p:nvGraphicFramePr>
            <p:cNvPr id="26" name="Диаграмма 25"/>
            <p:cNvGraphicFramePr/>
            <p:nvPr>
              <p:custDataLst>
                <p:tags r:id="rId1"/>
              </p:custDataLst>
              <p:extLst>
                <p:ext uri="{D42A27DB-BD31-4B8C-83A1-F6EECF244321}">
                  <p14:modId xmlns:p14="http://schemas.microsoft.com/office/powerpoint/2010/main" val="1720735093"/>
                </p:ext>
              </p:extLst>
            </p:nvPr>
          </p:nvGraphicFramePr>
          <p:xfrm>
            <a:off x="-442039" y="1414966"/>
            <a:ext cx="7880482" cy="407198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27" name="Номер слайда 5"/>
            <p:cNvSpPr txBox="1">
              <a:spLocks/>
            </p:cNvSpPr>
            <p:nvPr/>
          </p:nvSpPr>
          <p:spPr>
            <a:xfrm>
              <a:off x="6546933" y="6334293"/>
              <a:ext cx="1993816" cy="343917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lvl1pPr algn="r">
                <a:defRPr sz="1600" b="1">
                  <a:solidFill>
                    <a:schemeClr val="accent6">
                      <a:lumMod val="75000"/>
                    </a:schemeClr>
                  </a:solidFill>
                  <a:latin typeface="Times New Roman" pitchFamily="18" charset="0"/>
                  <a:cs typeface="Times New Roman" pitchFamily="18" charset="0"/>
                </a:defRPr>
              </a:lvl1pPr>
            </a:lstStyle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ru-RU" dirty="0" smtClean="0">
                <a:ln>
                  <a:solidFill>
                    <a:schemeClr val="accent6">
                      <a:lumMod val="75000"/>
                    </a:schemeClr>
                  </a:solidFill>
                </a:ln>
                <a:latin typeface="+mn-lt"/>
              </a:endParaRPr>
            </a:p>
          </p:txBody>
        </p:sp>
        <p:sp>
          <p:nvSpPr>
            <p:cNvPr id="28" name="TextBox 27"/>
            <p:cNvSpPr txBox="1"/>
            <p:nvPr>
              <p:custDataLst>
                <p:tags r:id="rId2"/>
              </p:custDataLst>
            </p:nvPr>
          </p:nvSpPr>
          <p:spPr>
            <a:xfrm>
              <a:off x="7452934" y="1319106"/>
              <a:ext cx="1576185" cy="3478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i="1" dirty="0" smtClean="0">
                  <a:ln>
                    <a:solidFill>
                      <a:schemeClr val="tx1"/>
                    </a:solidFill>
                  </a:ln>
                  <a:ea typeface="Tahoma" pitchFamily="34" charset="0"/>
                  <a:cs typeface="Tahoma" pitchFamily="34" charset="0"/>
                </a:rPr>
                <a:t>млн. рублей</a:t>
              </a:r>
              <a:endParaRPr lang="ru-RU" i="1" dirty="0">
                <a:ln>
                  <a:solidFill>
                    <a:schemeClr val="tx1"/>
                  </a:solidFill>
                </a:ln>
                <a:ea typeface="Tahoma" pitchFamily="34" charset="0"/>
                <a:cs typeface="Tahoma" pitchFamily="34" charset="0"/>
              </a:endParaRPr>
            </a:p>
          </p:txBody>
        </p:sp>
        <p:graphicFrame>
          <p:nvGraphicFramePr>
            <p:cNvPr id="29" name="Диаграмма 28"/>
            <p:cNvGraphicFramePr/>
            <p:nvPr>
              <p:custDataLst>
                <p:tags r:id="rId3"/>
              </p:custDataLst>
              <p:extLst>
                <p:ext uri="{D42A27DB-BD31-4B8C-83A1-F6EECF244321}">
                  <p14:modId xmlns:p14="http://schemas.microsoft.com/office/powerpoint/2010/main" val="4034019036"/>
                </p:ext>
              </p:extLst>
            </p:nvPr>
          </p:nvGraphicFramePr>
          <p:xfrm>
            <a:off x="-374750" y="2825298"/>
            <a:ext cx="7861914" cy="21604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graphicFrame>
          <p:nvGraphicFramePr>
            <p:cNvPr id="30" name="Диаграмма 29"/>
            <p:cNvGraphicFramePr/>
            <p:nvPr>
              <p:custDataLst>
                <p:tags r:id="rId4"/>
              </p:custDataLst>
              <p:extLst>
                <p:ext uri="{D42A27DB-BD31-4B8C-83A1-F6EECF244321}">
                  <p14:modId xmlns:p14="http://schemas.microsoft.com/office/powerpoint/2010/main" val="4176698367"/>
                </p:ext>
              </p:extLst>
            </p:nvPr>
          </p:nvGraphicFramePr>
          <p:xfrm>
            <a:off x="-442040" y="3699176"/>
            <a:ext cx="7880483" cy="141815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graphicFrame>
          <p:nvGraphicFramePr>
            <p:cNvPr id="31" name="Диаграмма 30"/>
            <p:cNvGraphicFramePr/>
            <p:nvPr>
              <p:custDataLst>
                <p:tags r:id="rId5"/>
              </p:custDataLst>
              <p:extLst>
                <p:ext uri="{D42A27DB-BD31-4B8C-83A1-F6EECF244321}">
                  <p14:modId xmlns:p14="http://schemas.microsoft.com/office/powerpoint/2010/main" val="3931922907"/>
                </p:ext>
              </p:extLst>
            </p:nvPr>
          </p:nvGraphicFramePr>
          <p:xfrm>
            <a:off x="-286586" y="4835786"/>
            <a:ext cx="7830427" cy="235419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sp>
          <p:nvSpPr>
            <p:cNvPr id="34" name="TextBox 33"/>
            <p:cNvSpPr txBox="1"/>
            <p:nvPr/>
          </p:nvSpPr>
          <p:spPr>
            <a:xfrm>
              <a:off x="0" y="5736742"/>
              <a:ext cx="1025391" cy="5508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/>
                <a:t>2017 (отчет)</a:t>
              </a:r>
              <a:endParaRPr lang="ru-RU" sz="1600" b="1" dirty="0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025391" y="5736371"/>
              <a:ext cx="989787" cy="5508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/>
                <a:t>2018 (отчет)</a:t>
              </a:r>
              <a:endParaRPr lang="ru-RU" sz="1600" b="1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942591" y="5762992"/>
              <a:ext cx="1032512" cy="5508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/>
                <a:t>2019 (отчет)</a:t>
              </a:r>
              <a:endParaRPr lang="ru-RU" sz="1600" b="1" dirty="0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2975103" y="5762992"/>
              <a:ext cx="110663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/>
                <a:t>2020 (оценка)</a:t>
              </a:r>
              <a:endParaRPr lang="ru-RU" sz="1600" b="1" dirty="0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186185" y="5754932"/>
              <a:ext cx="114686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/>
                <a:t>2021 (проект)</a:t>
              </a:r>
              <a:endParaRPr lang="ru-RU" sz="1600" b="1" dirty="0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5265229" y="5780050"/>
              <a:ext cx="114206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/>
                <a:t>2022 (проект)</a:t>
              </a:r>
              <a:endParaRPr lang="ru-RU" sz="1600" b="1" dirty="0"/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>
            <a:xfrm>
              <a:off x="327337" y="5744928"/>
              <a:ext cx="7111107" cy="1"/>
            </a:xfrm>
            <a:prstGeom prst="line">
              <a:avLst/>
            </a:prstGeom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7105115" y="1820136"/>
              <a:ext cx="2086711" cy="30623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0" rtlCol="0">
              <a:spAutoFit/>
            </a:bodyPr>
            <a:lstStyle/>
            <a:p>
              <a:pPr>
                <a:lnSpc>
                  <a:spcPts val="2000"/>
                </a:lnSpc>
              </a:pPr>
              <a:r>
                <a:rPr lang="ru-RU" sz="2000" b="1" i="1" dirty="0">
                  <a:solidFill>
                    <a:srgbClr val="CC6600"/>
                  </a:solidFill>
                  <a:ea typeface="Tahoma" pitchFamily="34" charset="0"/>
                  <a:cs typeface="Tahoma" pitchFamily="34" charset="0"/>
                </a:rPr>
                <a:t>Всего доходов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7102564" y="3034480"/>
              <a:ext cx="1872503" cy="5640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800"/>
                </a:lnSpc>
              </a:pPr>
              <a:r>
                <a:rPr lang="ru-RU" sz="1900" b="1" i="1" dirty="0">
                  <a:solidFill>
                    <a:srgbClr val="FFFF00"/>
                  </a:solidFill>
                  <a:ea typeface="Tahoma" pitchFamily="34" charset="0"/>
                  <a:cs typeface="Tahoma" pitchFamily="34" charset="0"/>
                </a:rPr>
                <a:t>Налоговые доходы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7128826" y="4283360"/>
              <a:ext cx="1866239" cy="5640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800"/>
                </a:lnSpc>
              </a:pPr>
              <a:r>
                <a:rPr lang="ru-RU" sz="1900" b="1" i="1" dirty="0">
                  <a:solidFill>
                    <a:schemeClr val="accent2"/>
                  </a:solidFill>
                  <a:ea typeface="Tahoma" pitchFamily="34" charset="0"/>
                  <a:cs typeface="Tahoma" pitchFamily="34" charset="0"/>
                </a:rPr>
                <a:t>Неналоговые доходы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7111463" y="5190931"/>
              <a:ext cx="2127968" cy="5640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800"/>
                </a:lnSpc>
              </a:pPr>
              <a:r>
                <a:rPr lang="ru-RU" sz="1900" b="1" i="1" dirty="0">
                  <a:solidFill>
                    <a:srgbClr val="FF5050"/>
                  </a:solidFill>
                  <a:ea typeface="Tahoma" pitchFamily="34" charset="0"/>
                  <a:cs typeface="Tahoma" pitchFamily="34" charset="0"/>
                </a:rPr>
                <a:t>Безвозмездные поступления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6348966" y="5744929"/>
              <a:ext cx="1089478" cy="5508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/>
                <a:t>2023 </a:t>
              </a:r>
              <a:r>
                <a:rPr lang="ru-RU" sz="1600" b="1" dirty="0"/>
                <a:t>(проект)</a:t>
              </a:r>
            </a:p>
          </p:txBody>
        </p:sp>
        <p:pic>
          <p:nvPicPr>
            <p:cNvPr id="46" name="Picture 11" descr="5gor4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300" y="1"/>
              <a:ext cx="1182255" cy="14778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04573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3469055"/>
              </p:ext>
            </p:extLst>
          </p:nvPr>
        </p:nvGraphicFramePr>
        <p:xfrm>
          <a:off x="0" y="1409701"/>
          <a:ext cx="9144001" cy="550849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723752"/>
                <a:gridCol w="763891"/>
                <a:gridCol w="786581"/>
                <a:gridCol w="869777"/>
              </a:tblGrid>
              <a:tr h="377026">
                <a:tc>
                  <a:txBody>
                    <a:bodyPr/>
                    <a:lstStyle/>
                    <a:p>
                      <a:pPr algn="ctr"/>
                      <a:r>
                        <a:rPr lang="ru-RU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Изменения</a:t>
                      </a:r>
                      <a:endParaRPr lang="ru-RU" b="1" kern="120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C4E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2021</a:t>
                      </a:r>
                      <a:endParaRPr lang="ru-RU" sz="1800" b="1" kern="120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C4E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2022</a:t>
                      </a:r>
                      <a:endParaRPr lang="ru-RU" sz="1800" b="1" kern="120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C4E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2023</a:t>
                      </a:r>
                      <a:endParaRPr lang="ru-RU" sz="1800" b="1" kern="120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C4E9"/>
                    </a:solidFill>
                  </a:tcPr>
                </a:tc>
              </a:tr>
              <a:tr h="84217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жегодное уменьшение норматива отчислений от НДФЛ, при этом: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</a:t>
                      </a: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2 году увеличение ФОТ по отдельным налогоплательщикам;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2023 году – без допнорматива от НДФЛ (без замещения дотации на БО)</a:t>
                      </a:r>
                      <a:endParaRPr lang="ru-RU" sz="1400" b="0" i="1" kern="1200" dirty="0" smtClean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66,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  <a:ea typeface="+mn-ea"/>
                          <a:cs typeface="+mn-cs"/>
                        </a:rPr>
                        <a:t>+64,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102,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5105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зменение дифференцированного норматива отчислений с доходов от уплаты акцизов</a:t>
                      </a:r>
                      <a:endParaRPr lang="ru-RU" sz="1600" b="0" i="1" kern="1200" dirty="0" smtClean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0,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1,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2115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Изменение доходов от налогов на совокупный доход, за счет: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числения с 01.01.2021г.  УСН (по нормативу отчислений в размере 15%);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мены ЕНВД с 2021 года;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я до 2024 года «налоговых каникул» по ЕНВД и Патенту для отдельных </a:t>
                      </a:r>
                      <a:r>
                        <a:rPr lang="ru-RU" sz="1400" b="0" i="0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тегорий налогоплательщиков</a:t>
                      </a:r>
                      <a:endParaRPr lang="ru-RU" sz="1600" b="0" i="0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24,4</a:t>
                      </a:r>
                      <a:endParaRPr lang="ru-RU" sz="1800" b="1" kern="120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29,2</a:t>
                      </a:r>
                      <a:endParaRPr lang="ru-RU" sz="1800" b="1" kern="120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  <a:ea typeface="+mn-ea"/>
                          <a:cs typeface="+mn-cs"/>
                        </a:rPr>
                        <a:t>+12,7</a:t>
                      </a:r>
                      <a:endParaRPr lang="ru-RU" sz="18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89072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Увеличение общей суммы доходов от местных налогов с физических лиц, в связи с применением новой кадастровой стоимости объектов</a:t>
                      </a:r>
                      <a:r>
                        <a:rPr lang="ru-RU" sz="1600" b="0" i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недвижимости и земельных участков</a:t>
                      </a:r>
                      <a:endParaRPr lang="ru-RU" sz="1400" b="0" i="1" kern="1200" dirty="0" smtClean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11,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7,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9,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0591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зменение доходов от использования муниципального имущества, в том числе за счет планирования арендной платы за земли по действующим в 2020г. договорам аренды земли (</a:t>
                      </a: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 учета ожидаемых возвратов</a:t>
                      </a:r>
                      <a:r>
                        <a:rPr lang="ru-RU" sz="140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и </a:t>
                      </a: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четов сумм переплат, сложившихся за период 2016-2018гг., в связи с постановлением</a:t>
                      </a:r>
                      <a:r>
                        <a:rPr lang="ru-RU" sz="140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равительства РФ от 05.05.2017г. № 531)</a:t>
                      </a:r>
                      <a:endParaRPr lang="ru-RU" sz="14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3,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1,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3,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35819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Уменьшение доходов от реализации муниципального имуществ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15,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6,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5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2"/>
          <p:cNvSpPr>
            <a:spLocks noGrp="1"/>
          </p:cNvSpPr>
          <p:nvPr>
            <p:ph type="title"/>
          </p:nvPr>
        </p:nvSpPr>
        <p:spPr>
          <a:xfrm>
            <a:off x="1209674" y="167410"/>
            <a:ext cx="7934325" cy="1143000"/>
          </a:xfrm>
        </p:spPr>
        <p:txBody>
          <a:bodyPr>
            <a:noAutofit/>
          </a:bodyPr>
          <a:lstStyle/>
          <a:p>
            <a:pPr marL="446088" lvl="0" indent="-446088" eaLnBrk="1" hangingPunct="1">
              <a:lnSpc>
                <a:spcPct val="80000"/>
              </a:lnSpc>
              <a:defRPr/>
            </a:pP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    </a:t>
            </a: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Изменение налогового и бюджетного законодательства</a:t>
            </a:r>
          </a:p>
        </p:txBody>
      </p:sp>
      <p:sp>
        <p:nvSpPr>
          <p:cNvPr id="6" name="Прямоугольник 5"/>
          <p:cNvSpPr>
            <a:spLocks noChangeArrowheads="1"/>
          </p:cNvSpPr>
          <p:nvPr/>
        </p:nvSpPr>
        <p:spPr bwMode="auto">
          <a:xfrm>
            <a:off x="7871637" y="102178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80004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459967318"/>
              </p:ext>
            </p:extLst>
          </p:nvPr>
        </p:nvGraphicFramePr>
        <p:xfrm>
          <a:off x="86264" y="1324924"/>
          <a:ext cx="5226745" cy="23692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1500" y="190818"/>
            <a:ext cx="8229600" cy="1143000"/>
          </a:xfrm>
        </p:spPr>
        <p:txBody>
          <a:bodyPr/>
          <a:lstStyle/>
          <a:p>
            <a:r>
              <a:rPr lang="ru-RU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Структура и динамика поступлений налоговых доходов</a:t>
            </a:r>
            <a:endParaRPr lang="ru-RU" sz="2800" dirty="0">
              <a:latin typeface="+mn-lt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45419979"/>
              </p:ext>
            </p:extLst>
          </p:nvPr>
        </p:nvGraphicFramePr>
        <p:xfrm>
          <a:off x="274320" y="1897380"/>
          <a:ext cx="5661660" cy="4175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56260" y="1493520"/>
            <a:ext cx="548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341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04900" y="1472148"/>
            <a:ext cx="548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454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760220" y="1472147"/>
            <a:ext cx="579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583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407920" y="1411188"/>
            <a:ext cx="6705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630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078480" y="1459884"/>
            <a:ext cx="60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555</a:t>
            </a:r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3114239392"/>
              </p:ext>
            </p:extLst>
          </p:nvPr>
        </p:nvGraphicFramePr>
        <p:xfrm>
          <a:off x="5234940" y="1871365"/>
          <a:ext cx="4099560" cy="3482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7357110" y="1059774"/>
            <a:ext cx="16840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699760" y="5448300"/>
            <a:ext cx="3009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логовых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ходов в 2021 году</a:t>
            </a:r>
          </a:p>
        </p:txBody>
      </p:sp>
      <p:pic>
        <p:nvPicPr>
          <p:cNvPr id="13" name="Picture 11" descr="5gor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258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3750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440" y="183198"/>
            <a:ext cx="8229600" cy="1143000"/>
          </a:xfrm>
        </p:spPr>
        <p:txBody>
          <a:bodyPr/>
          <a:lstStyle/>
          <a:p>
            <a:r>
              <a:rPr lang="ru-RU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Arial" pitchFamily="34" charset="0"/>
              </a:rPr>
              <a:t>Структура и динамика поступлений неналоговых доходов</a:t>
            </a:r>
            <a:endParaRPr lang="ru-RU" sz="2800" dirty="0">
              <a:latin typeface="+mn-lt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9029129"/>
              </p:ext>
            </p:extLst>
          </p:nvPr>
        </p:nvGraphicFramePr>
        <p:xfrm>
          <a:off x="68580" y="1737360"/>
          <a:ext cx="5692140" cy="5006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4114886251"/>
              </p:ext>
            </p:extLst>
          </p:nvPr>
        </p:nvGraphicFramePr>
        <p:xfrm>
          <a:off x="22860" y="1958340"/>
          <a:ext cx="4937760" cy="106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04800" y="1804451"/>
            <a:ext cx="548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69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29640" y="1958339"/>
            <a:ext cx="548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4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623060" y="1828799"/>
            <a:ext cx="579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65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77440" y="1804451"/>
            <a:ext cx="6705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63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48000" y="1828799"/>
            <a:ext cx="60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60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1798374467"/>
              </p:ext>
            </p:extLst>
          </p:nvPr>
        </p:nvGraphicFramePr>
        <p:xfrm>
          <a:off x="5189220" y="1695511"/>
          <a:ext cx="4312920" cy="3623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7223760" y="1295400"/>
            <a:ext cx="17983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н. руб.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730240" y="5242560"/>
            <a:ext cx="28498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</a:t>
            </a:r>
          </a:p>
          <a:p>
            <a:pPr 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налоговых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ходов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2021 году</a:t>
            </a:r>
          </a:p>
        </p:txBody>
      </p:sp>
      <p:pic>
        <p:nvPicPr>
          <p:cNvPr id="13" name="Picture 11" descr="5gor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5304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331819259"/>
              </p:ext>
            </p:extLst>
          </p:nvPr>
        </p:nvGraphicFramePr>
        <p:xfrm>
          <a:off x="-31055" y="1804450"/>
          <a:ext cx="5455920" cy="2019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3440" y="167410"/>
            <a:ext cx="8229600" cy="1143000"/>
          </a:xfrm>
        </p:spPr>
        <p:txBody>
          <a:bodyPr/>
          <a:lstStyle/>
          <a:p>
            <a:r>
              <a:rPr lang="ru-RU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rPr>
              <a:t>Структура и динамика безвозмездных поступления</a:t>
            </a:r>
            <a:endParaRPr lang="ru-RU" sz="2800" dirty="0">
              <a:latin typeface="+mn-lt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95091047"/>
              </p:ext>
            </p:extLst>
          </p:nvPr>
        </p:nvGraphicFramePr>
        <p:xfrm>
          <a:off x="0" y="1102605"/>
          <a:ext cx="5928203" cy="56305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04800" y="1521022"/>
            <a:ext cx="548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511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74420" y="1613949"/>
            <a:ext cx="548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497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798320" y="1650562"/>
            <a:ext cx="579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383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90800" y="1613949"/>
            <a:ext cx="6705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068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413760" y="1638295"/>
            <a:ext cx="60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888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2441811468"/>
              </p:ext>
            </p:extLst>
          </p:nvPr>
        </p:nvGraphicFramePr>
        <p:xfrm>
          <a:off x="5212080" y="1231462"/>
          <a:ext cx="3992880" cy="4072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478780" y="4953143"/>
            <a:ext cx="36576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</a:t>
            </a:r>
          </a:p>
          <a:p>
            <a:pPr algn="ctr"/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звозмездных</a:t>
            </a:r>
          </a:p>
          <a:p>
            <a:pPr algn="ctr"/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ступлений в 2021 году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307580" y="988814"/>
            <a:ext cx="18364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</p:txBody>
      </p:sp>
      <p:pic>
        <p:nvPicPr>
          <p:cNvPr id="13" name="Picture 11" descr="5gor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999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E5kHx1XUWUzoWLelWVi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AyM2BhF0iAg8Rb1.lq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82pUk.HECIl7RnakaI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dkfYmCukC_TBNUSBad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3vuTSfCkOCt7RTS_gqS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E5kHx1XUWUzoWLelWV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E5kHx1XUWUzoWLelWVi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E5kHx1XUWUzoWLelWV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Diseño predeterminado">
  <a:themeElements>
    <a:clrScheme name="Diseño predetermin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redeterminad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Остин">
      <a:fillStyleLst>
        <a:solidFill>
          <a:schemeClr val="phClr"/>
        </a:solidFill>
        <a:gradFill rotWithShape="1">
          <a:gsLst>
            <a:gs pos="0">
              <a:schemeClr val="phClr">
                <a:tint val="20000"/>
                <a:satMod val="180000"/>
                <a:lumMod val="98000"/>
              </a:schemeClr>
            </a:gs>
            <a:gs pos="40000">
              <a:schemeClr val="phClr">
                <a:tint val="30000"/>
                <a:satMod val="260000"/>
                <a:lumMod val="84000"/>
              </a:schemeClr>
            </a:gs>
            <a:gs pos="100000">
              <a:schemeClr val="phClr">
                <a:tint val="100000"/>
                <a:satMod val="110000"/>
                <a:lumMod val="100000"/>
              </a:schemeClr>
            </a:gs>
          </a:gsLst>
          <a:lin ang="5040000" scaled="1"/>
        </a:gradFill>
        <a:gradFill rotWithShape="1">
          <a:gsLst>
            <a:gs pos="0">
              <a:schemeClr val="phClr"/>
            </a:gs>
            <a:gs pos="100000">
              <a:schemeClr val="phClr">
                <a:shade val="75000"/>
                <a:satMod val="120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>
            <a:bevelT w="50800" h="12700" prst="softRound"/>
          </a:sp3d>
        </a:effectStyle>
        <a:effectStyle>
          <a:effectLst>
            <a:outerShdw blurRad="44450" dist="50800" dir="5400000" sx="96000" rotWithShape="0">
              <a:srgbClr val="000000">
                <a:alpha val="3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 contourW="15875" prstMaterial="metal">
            <a:bevelT w="101600" h="25400" prst="softRound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Бумажная">
  <a:themeElements>
    <a:clrScheme name="Бумажная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Бумажная">
      <a:majorFont>
        <a:latin typeface="Constantia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onstantia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Бумажная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63000"/>
                <a:tint val="82000"/>
              </a:schemeClr>
              <a:schemeClr val="phClr">
                <a:tint val="10000"/>
                <a:satMod val="400000"/>
              </a:schemeClr>
            </a:duotone>
          </a:blip>
          <a:tile tx="0" ty="0" sx="40000" sy="40000" flip="none" algn="tl"/>
        </a:blipFill>
        <a:blipFill>
          <a:blip xmlns:r="http://schemas.openxmlformats.org/officeDocument/2006/relationships" r:embed="rId1">
            <a:duotone>
              <a:schemeClr val="phClr">
                <a:shade val="40000"/>
              </a:schemeClr>
              <a:schemeClr val="phClr">
                <a:tint val="42000"/>
              </a:schemeClr>
            </a:duotone>
          </a:blip>
          <a:tile tx="0" ty="0" sx="40000" sy="4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635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algn="tl" rotWithShape="0">
              <a:srgbClr val="000000">
                <a:alpha val="50000"/>
              </a:srgbClr>
            </a:outerShdw>
          </a:effectLst>
          <a:scene3d>
            <a:camera prst="orthographicFront"/>
            <a:lightRig rig="soft" dir="t">
              <a:rot lat="0" lon="0" rev="18000000"/>
            </a:lightRig>
          </a:scene3d>
          <a:sp3d prstMaterial="dkEdge">
            <a:bevelT w="73660" h="44450" prst="riblet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55000"/>
                <a:alpha val="20000"/>
              </a:schemeClr>
              <a:schemeClr val="phClr">
                <a:tint val="40000"/>
                <a:shade val="90000"/>
                <a:satMod val="60000"/>
                <a:alpha val="20000"/>
              </a:schemeClr>
            </a:duotone>
          </a:blip>
          <a:tile tx="0" ty="0" sx="58000" sy="38000" flip="none" algn="tl"/>
        </a:blipFill>
        <a:blipFill>
          <a:blip xmlns:r="http://schemas.openxmlformats.org/officeDocument/2006/relationships" r:embed="rId2">
            <a:duotone>
              <a:schemeClr val="phClr">
                <a:shade val="12000"/>
                <a:satMod val="240000"/>
              </a:schemeClr>
              <a:schemeClr val="phClr">
                <a:tint val="65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iseño predeterminado">
  <a:themeElements>
    <a:clrScheme name="Эркер">
      <a:dk1>
        <a:sysClr val="windowText" lastClr="000000"/>
      </a:dk1>
      <a:lt1>
        <a:sysClr val="window" lastClr="FFFFFF"/>
      </a:lt1>
      <a:dk2>
        <a:srgbClr val="575F6D"/>
      </a:dk2>
      <a:lt2>
        <a:srgbClr val="FFF39D"/>
      </a:lt2>
      <a:accent1>
        <a:srgbClr val="FE8637"/>
      </a:accent1>
      <a:accent2>
        <a:srgbClr val="7598D9"/>
      </a:accent2>
      <a:accent3>
        <a:srgbClr val="B32C16"/>
      </a:accent3>
      <a:accent4>
        <a:srgbClr val="F5CD2D"/>
      </a:accent4>
      <a:accent5>
        <a:srgbClr val="AEBAD5"/>
      </a:accent5>
      <a:accent6>
        <a:srgbClr val="777C84"/>
      </a:accent6>
      <a:hlink>
        <a:srgbClr val="D2611C"/>
      </a:hlink>
      <a:folHlink>
        <a:srgbClr val="3B435B"/>
      </a:folHlink>
    </a:clrScheme>
    <a:fontScheme name="Diseño predeterminad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rtlCol="0">
        <a:spAutoFit/>
      </a:bodyPr>
      <a:lstStyle>
        <a:defPPr algn="ctr">
          <a:defRPr sz="12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txDef>
  </a:objectDefaults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648</TotalTime>
  <Words>1883</Words>
  <Application>Microsoft Office PowerPoint</Application>
  <PresentationFormat>Экран (4:3)</PresentationFormat>
  <Paragraphs>637</Paragraphs>
  <Slides>29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3</vt:i4>
      </vt:variant>
      <vt:variant>
        <vt:lpstr>Заголовки слайдов</vt:lpstr>
      </vt:variant>
      <vt:variant>
        <vt:i4>29</vt:i4>
      </vt:variant>
    </vt:vector>
  </HeadingPairs>
  <TitlesOfParts>
    <vt:vector size="32" baseType="lpstr">
      <vt:lpstr>Diseño predeterminado</vt:lpstr>
      <vt:lpstr>Бумажная</vt:lpstr>
      <vt:lpstr>1_Diseño predeterminado</vt:lpstr>
      <vt:lpstr>ПРОЕКТ БЮДЖЕТА города-курорта Пятигорска на 2021 год и плановый период 2022-2023 годов</vt:lpstr>
      <vt:lpstr>ОСНОВНЫЕ НАПРАВЛЕНИЯ НАЛОГОВОЙ И БЮДЖЕТНОЙ ПОЛИТИКИ</vt:lpstr>
      <vt:lpstr>Прогноз социально-экономического развития города-курорта Пятигорска</vt:lpstr>
      <vt:lpstr>Основные параметры проекта бюджета</vt:lpstr>
      <vt:lpstr>Презентация PowerPoint</vt:lpstr>
      <vt:lpstr>     Изменение налогового и бюджетного законодательства</vt:lpstr>
      <vt:lpstr>Структура и динамика поступлений налоговых доходов</vt:lpstr>
      <vt:lpstr>Структура и динамика поступлений неналоговых доходов</vt:lpstr>
      <vt:lpstr>Структура и динамика безвозмездных поступления</vt:lpstr>
      <vt:lpstr>Динамика и программная структура расходов бюджета</vt:lpstr>
      <vt:lpstr>Национальные проекты в 2021 году</vt:lpstr>
      <vt:lpstr>СОФИНАНСИРОВАНИЕ в 2021 году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юджет города Екатеринбурга</dc:title>
  <dc:creator>lapina_ia</dc:creator>
  <cp:lastModifiedBy>SUPERUSER</cp:lastModifiedBy>
  <cp:revision>2251</cp:revision>
  <cp:lastPrinted>2020-11-25T14:45:46Z</cp:lastPrinted>
  <dcterms:created xsi:type="dcterms:W3CDTF">2013-11-05T05:51:37Z</dcterms:created>
  <dcterms:modified xsi:type="dcterms:W3CDTF">2020-12-09T15:19:26Z</dcterms:modified>
</cp:coreProperties>
</file>